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676d1a8b54254ea5" Type="http://schemas.microsoft.com/office/2007/relationships/ui/extensibility" Target="NULL"/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6"/>
  </p:sldMasterIdLst>
  <p:notesMasterIdLst>
    <p:notesMasterId r:id="rId17"/>
  </p:notesMasterIdLst>
  <p:handoutMasterIdLst>
    <p:handoutMasterId r:id="rId18"/>
  </p:handoutMasterIdLst>
  <p:sldIdLst>
    <p:sldId id="309" r:id="rId7"/>
    <p:sldId id="320" r:id="rId8"/>
    <p:sldId id="321" r:id="rId9"/>
    <p:sldId id="323" r:id="rId10"/>
    <p:sldId id="322" r:id="rId11"/>
    <p:sldId id="324" r:id="rId12"/>
    <p:sldId id="325" r:id="rId13"/>
    <p:sldId id="326" r:id="rId14"/>
    <p:sldId id="327" r:id="rId15"/>
    <p:sldId id="319" r:id="rId16"/>
  </p:sldIdLst>
  <p:sldSz cx="9601200" cy="6858000"/>
  <p:notesSz cx="7023100" cy="93091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5DCD4"/>
    <a:srgbClr val="3B9489"/>
    <a:srgbClr val="D6E683"/>
    <a:srgbClr val="8BA024"/>
    <a:srgbClr val="FCC77B"/>
    <a:srgbClr val="BB791A"/>
    <a:srgbClr val="CE87C3"/>
    <a:srgbClr val="832974"/>
    <a:srgbClr val="818181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05D12D5-E0AD-7A4A-6BE0-34707ECBF2D8}" v="2" dt="2020-04-07T12:51:21.148"/>
    <p1510:client id="{F17258E6-AD5F-4EA9-9E89-A69FF9D74EEA}" v="41" dt="2020-03-03T08:51:23.827"/>
  </p1510:revLst>
</p1510:revInfo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accent4"/>
              </a:solidFill>
            </a:ln>
          </a:bottom>
          <a:insideH>
            <a:ln w="9525" cap="flat" cmpd="sng" algn="ctr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microsoft.com/office/2016/11/relationships/changesInfo" Target="changesInfos/changesInfo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c Bastian" userId="S::jac@diversityrolemodels.org::f24dd42f-8ca9-47da-b9bd-515f9382c46b" providerId="AD" clId="Web-{F05D12D5-E0AD-7A4A-6BE0-34707ECBF2D8}"/>
    <pc:docChg chg="modSld">
      <pc:chgData name="Jac Bastian" userId="S::jac@diversityrolemodels.org::f24dd42f-8ca9-47da-b9bd-515f9382c46b" providerId="AD" clId="Web-{F05D12D5-E0AD-7A4A-6BE0-34707ECBF2D8}" dt="2020-04-07T12:51:21.132" v="1" actId="14100"/>
      <pc:docMkLst>
        <pc:docMk/>
      </pc:docMkLst>
      <pc:sldChg chg="modSp">
        <pc:chgData name="Jac Bastian" userId="S::jac@diversityrolemodels.org::f24dd42f-8ca9-47da-b9bd-515f9382c46b" providerId="AD" clId="Web-{F05D12D5-E0AD-7A4A-6BE0-34707ECBF2D8}" dt="2020-04-07T12:51:21.132" v="1" actId="14100"/>
        <pc:sldMkLst>
          <pc:docMk/>
          <pc:sldMk cId="2943434241" sldId="324"/>
        </pc:sldMkLst>
        <pc:picChg chg="mod">
          <ac:chgData name="Jac Bastian" userId="S::jac@diversityrolemodels.org::f24dd42f-8ca9-47da-b9bd-515f9382c46b" providerId="AD" clId="Web-{F05D12D5-E0AD-7A4A-6BE0-34707ECBF2D8}" dt="2020-04-07T12:51:21.132" v="1" actId="14100"/>
          <ac:picMkLst>
            <pc:docMk/>
            <pc:sldMk cId="2943434241" sldId="324"/>
            <ac:picMk id="13" creationId="{77D12684-36B5-4A23-B03E-CA6F2D086C63}"/>
          </ac:picMkLst>
        </pc:picChg>
      </pc:sldChg>
    </pc:docChg>
  </pc:docChgLst>
  <pc:docChgLst>
    <pc:chgData name="Adam McCann" userId="aa340f6e-aaee-4464-a78e-1d0bf6299fd4" providerId="ADAL" clId="{F17258E6-AD5F-4EA9-9E89-A69FF9D74EEA}"/>
    <pc:docChg chg="custSel addSld modSld">
      <pc:chgData name="Adam McCann" userId="aa340f6e-aaee-4464-a78e-1d0bf6299fd4" providerId="ADAL" clId="{F17258E6-AD5F-4EA9-9E89-A69FF9D74EEA}" dt="2020-03-03T08:51:23.811" v="38"/>
      <pc:docMkLst>
        <pc:docMk/>
      </pc:docMkLst>
      <pc:sldChg chg="add">
        <pc:chgData name="Adam McCann" userId="aa340f6e-aaee-4464-a78e-1d0bf6299fd4" providerId="ADAL" clId="{F17258E6-AD5F-4EA9-9E89-A69FF9D74EEA}" dt="2020-03-03T08:51:23.811" v="38"/>
        <pc:sldMkLst>
          <pc:docMk/>
          <pc:sldMk cId="1495309315" sldId="319"/>
        </pc:sldMkLst>
      </pc:sldChg>
      <pc:sldChg chg="modSp">
        <pc:chgData name="Adam McCann" userId="aa340f6e-aaee-4464-a78e-1d0bf6299fd4" providerId="ADAL" clId="{F17258E6-AD5F-4EA9-9E89-A69FF9D74EEA}" dt="2020-03-03T08:33:17.354" v="3" actId="20577"/>
        <pc:sldMkLst>
          <pc:docMk/>
          <pc:sldMk cId="3942832056" sldId="320"/>
        </pc:sldMkLst>
        <pc:spChg chg="mod">
          <ac:chgData name="Adam McCann" userId="aa340f6e-aaee-4464-a78e-1d0bf6299fd4" providerId="ADAL" clId="{F17258E6-AD5F-4EA9-9E89-A69FF9D74EEA}" dt="2020-03-03T08:33:17.354" v="3" actId="20577"/>
          <ac:spMkLst>
            <pc:docMk/>
            <pc:sldMk cId="3942832056" sldId="320"/>
            <ac:spMk id="2" creationId="{58F11065-6B63-4F24-BFFB-C7DCFE581089}"/>
          </ac:spMkLst>
        </pc:spChg>
        <pc:spChg chg="mod">
          <ac:chgData name="Adam McCann" userId="aa340f6e-aaee-4464-a78e-1d0bf6299fd4" providerId="ADAL" clId="{F17258E6-AD5F-4EA9-9E89-A69FF9D74EEA}" dt="2020-03-03T08:33:09.357" v="1" actId="207"/>
          <ac:spMkLst>
            <pc:docMk/>
            <pc:sldMk cId="3942832056" sldId="320"/>
            <ac:spMk id="3" creationId="{D4639B4E-7F76-47B3-87EB-A809AC3892F8}"/>
          </ac:spMkLst>
        </pc:spChg>
        <pc:spChg chg="mod">
          <ac:chgData name="Adam McCann" userId="aa340f6e-aaee-4464-a78e-1d0bf6299fd4" providerId="ADAL" clId="{F17258E6-AD5F-4EA9-9E89-A69FF9D74EEA}" dt="2020-03-03T08:33:12.231" v="2" actId="207"/>
          <ac:spMkLst>
            <pc:docMk/>
            <pc:sldMk cId="3942832056" sldId="320"/>
            <ac:spMk id="4" creationId="{04FA4F96-6108-4A0C-8CFB-A393640D3C19}"/>
          </ac:spMkLst>
        </pc:spChg>
      </pc:sldChg>
      <pc:sldChg chg="delSp modSp">
        <pc:chgData name="Adam McCann" userId="aa340f6e-aaee-4464-a78e-1d0bf6299fd4" providerId="ADAL" clId="{F17258E6-AD5F-4EA9-9E89-A69FF9D74EEA}" dt="2020-03-03T08:33:40.263" v="30" actId="20577"/>
        <pc:sldMkLst>
          <pc:docMk/>
          <pc:sldMk cId="2247153853" sldId="321"/>
        </pc:sldMkLst>
        <pc:spChg chg="mod">
          <ac:chgData name="Adam McCann" userId="aa340f6e-aaee-4464-a78e-1d0bf6299fd4" providerId="ADAL" clId="{F17258E6-AD5F-4EA9-9E89-A69FF9D74EEA}" dt="2020-03-03T08:33:40.263" v="30" actId="20577"/>
          <ac:spMkLst>
            <pc:docMk/>
            <pc:sldMk cId="2247153853" sldId="321"/>
            <ac:spMk id="2" creationId="{62FD997E-3FF7-498E-A72F-40F717AB8CDF}"/>
          </ac:spMkLst>
        </pc:spChg>
        <pc:spChg chg="del">
          <ac:chgData name="Adam McCann" userId="aa340f6e-aaee-4464-a78e-1d0bf6299fd4" providerId="ADAL" clId="{F17258E6-AD5F-4EA9-9E89-A69FF9D74EEA}" dt="2020-03-03T08:33:25.745" v="5" actId="478"/>
          <ac:spMkLst>
            <pc:docMk/>
            <pc:sldMk cId="2247153853" sldId="321"/>
            <ac:spMk id="5" creationId="{B94387E2-4FA7-432E-976A-6FDCA9EB38F3}"/>
          </ac:spMkLst>
        </pc:spChg>
      </pc:sldChg>
      <pc:sldChg chg="modSp">
        <pc:chgData name="Adam McCann" userId="aa340f6e-aaee-4464-a78e-1d0bf6299fd4" providerId="ADAL" clId="{F17258E6-AD5F-4EA9-9E89-A69FF9D74EEA}" dt="2020-03-03T08:34:02.534" v="33" actId="207"/>
        <pc:sldMkLst>
          <pc:docMk/>
          <pc:sldMk cId="1307554355" sldId="322"/>
        </pc:sldMkLst>
        <pc:spChg chg="mod">
          <ac:chgData name="Adam McCann" userId="aa340f6e-aaee-4464-a78e-1d0bf6299fd4" providerId="ADAL" clId="{F17258E6-AD5F-4EA9-9E89-A69FF9D74EEA}" dt="2020-03-03T08:34:02.534" v="33" actId="207"/>
          <ac:spMkLst>
            <pc:docMk/>
            <pc:sldMk cId="1307554355" sldId="322"/>
            <ac:spMk id="2" creationId="{00DDED85-2F7D-4151-BFA8-17128483018E}"/>
          </ac:spMkLst>
        </pc:spChg>
      </pc:sldChg>
      <pc:sldChg chg="delSp modSp delAnim">
        <pc:chgData name="Adam McCann" userId="aa340f6e-aaee-4464-a78e-1d0bf6299fd4" providerId="ADAL" clId="{F17258E6-AD5F-4EA9-9E89-A69FF9D74EEA}" dt="2020-03-03T08:33:55.532" v="32" actId="478"/>
        <pc:sldMkLst>
          <pc:docMk/>
          <pc:sldMk cId="3893871571" sldId="323"/>
        </pc:sldMkLst>
        <pc:spChg chg="mod">
          <ac:chgData name="Adam McCann" userId="aa340f6e-aaee-4464-a78e-1d0bf6299fd4" providerId="ADAL" clId="{F17258E6-AD5F-4EA9-9E89-A69FF9D74EEA}" dt="2020-03-03T08:33:46.677" v="31" actId="207"/>
          <ac:spMkLst>
            <pc:docMk/>
            <pc:sldMk cId="3893871571" sldId="323"/>
            <ac:spMk id="2" creationId="{06587D34-892F-4461-8A9A-DBBC6F9928DB}"/>
          </ac:spMkLst>
        </pc:spChg>
        <pc:spChg chg="del">
          <ac:chgData name="Adam McCann" userId="aa340f6e-aaee-4464-a78e-1d0bf6299fd4" providerId="ADAL" clId="{F17258E6-AD5F-4EA9-9E89-A69FF9D74EEA}" dt="2020-03-03T08:33:55.532" v="32" actId="478"/>
          <ac:spMkLst>
            <pc:docMk/>
            <pc:sldMk cId="3893871571" sldId="323"/>
            <ac:spMk id="3" creationId="{D78D7876-0AD7-40CB-9956-21CC2F28E9A0}"/>
          </ac:spMkLst>
        </pc:spChg>
      </pc:sldChg>
      <pc:sldChg chg="modSp">
        <pc:chgData name="Adam McCann" userId="aa340f6e-aaee-4464-a78e-1d0bf6299fd4" providerId="ADAL" clId="{F17258E6-AD5F-4EA9-9E89-A69FF9D74EEA}" dt="2020-03-03T08:34:07.407" v="34" actId="207"/>
        <pc:sldMkLst>
          <pc:docMk/>
          <pc:sldMk cId="2943434241" sldId="324"/>
        </pc:sldMkLst>
        <pc:spChg chg="mod">
          <ac:chgData name="Adam McCann" userId="aa340f6e-aaee-4464-a78e-1d0bf6299fd4" providerId="ADAL" clId="{F17258E6-AD5F-4EA9-9E89-A69FF9D74EEA}" dt="2020-03-03T08:34:07.407" v="34" actId="207"/>
          <ac:spMkLst>
            <pc:docMk/>
            <pc:sldMk cId="2943434241" sldId="324"/>
            <ac:spMk id="2" creationId="{5A17E87C-1E93-491B-BBC2-521CE2F39120}"/>
          </ac:spMkLst>
        </pc:spChg>
      </pc:sldChg>
      <pc:sldChg chg="modSp">
        <pc:chgData name="Adam McCann" userId="aa340f6e-aaee-4464-a78e-1d0bf6299fd4" providerId="ADAL" clId="{F17258E6-AD5F-4EA9-9E89-A69FF9D74EEA}" dt="2020-03-03T08:34:15.265" v="35" actId="207"/>
        <pc:sldMkLst>
          <pc:docMk/>
          <pc:sldMk cId="735264468" sldId="325"/>
        </pc:sldMkLst>
        <pc:spChg chg="mod">
          <ac:chgData name="Adam McCann" userId="aa340f6e-aaee-4464-a78e-1d0bf6299fd4" providerId="ADAL" clId="{F17258E6-AD5F-4EA9-9E89-A69FF9D74EEA}" dt="2020-03-03T08:34:15.265" v="35" actId="207"/>
          <ac:spMkLst>
            <pc:docMk/>
            <pc:sldMk cId="735264468" sldId="325"/>
            <ac:spMk id="2" creationId="{B87F9D7B-CD03-4BAD-909D-B2629927886A}"/>
          </ac:spMkLst>
        </pc:spChg>
      </pc:sldChg>
      <pc:sldChg chg="modSp">
        <pc:chgData name="Adam McCann" userId="aa340f6e-aaee-4464-a78e-1d0bf6299fd4" providerId="ADAL" clId="{F17258E6-AD5F-4EA9-9E89-A69FF9D74EEA}" dt="2020-03-03T08:34:19.404" v="36" actId="207"/>
        <pc:sldMkLst>
          <pc:docMk/>
          <pc:sldMk cId="3551932355" sldId="326"/>
        </pc:sldMkLst>
        <pc:spChg chg="mod">
          <ac:chgData name="Adam McCann" userId="aa340f6e-aaee-4464-a78e-1d0bf6299fd4" providerId="ADAL" clId="{F17258E6-AD5F-4EA9-9E89-A69FF9D74EEA}" dt="2020-03-03T08:34:19.404" v="36" actId="207"/>
          <ac:spMkLst>
            <pc:docMk/>
            <pc:sldMk cId="3551932355" sldId="326"/>
            <ac:spMk id="2" creationId="{B87F9D7B-CD03-4BAD-909D-B2629927886A}"/>
          </ac:spMkLst>
        </pc:spChg>
      </pc:sldChg>
      <pc:sldChg chg="modSp">
        <pc:chgData name="Adam McCann" userId="aa340f6e-aaee-4464-a78e-1d0bf6299fd4" providerId="ADAL" clId="{F17258E6-AD5F-4EA9-9E89-A69FF9D74EEA}" dt="2020-03-03T08:34:24.100" v="37" actId="207"/>
        <pc:sldMkLst>
          <pc:docMk/>
          <pc:sldMk cId="2438850803" sldId="327"/>
        </pc:sldMkLst>
        <pc:spChg chg="mod">
          <ac:chgData name="Adam McCann" userId="aa340f6e-aaee-4464-a78e-1d0bf6299fd4" providerId="ADAL" clId="{F17258E6-AD5F-4EA9-9E89-A69FF9D74EEA}" dt="2020-03-03T08:34:24.100" v="37" actId="207"/>
          <ac:spMkLst>
            <pc:docMk/>
            <pc:sldMk cId="2438850803" sldId="327"/>
            <ac:spMk id="2" creationId="{5CBD1899-4ACB-4A0D-8F73-BF7773ECF25B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GB" smtClean="0"/>
              <a:t>07/04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GB" smtClean="0"/>
              <a:t>07/04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12863" y="1163638"/>
            <a:ext cx="439737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PnDgZuGIhHs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Unjumble this word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1627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>
                <a:hlinkClick r:id="rId3"/>
              </a:rPr>
              <a:t>https://www.youtube.com/watch?v=PnDgZuGIhHs</a:t>
            </a:r>
            <a:r>
              <a:rPr lang="en-GB"/>
              <a:t>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46157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arents and child </a:t>
            </a:r>
          </a:p>
          <a:p>
            <a:r>
              <a:rPr lang="en-US"/>
              <a:t>Partner – can be woman and woman (lesbian), man and man (gay) man and woman (heterosexual) or people can fall in love with men or women (bisexual)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0089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exual orientation – heterosexual and gay </a:t>
            </a:r>
          </a:p>
          <a:p>
            <a:r>
              <a:rPr lang="en-US"/>
              <a:t>Mixed race </a:t>
            </a:r>
          </a:p>
          <a:p>
            <a:r>
              <a:rPr lang="en-US"/>
              <a:t>Some families have children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90933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miling </a:t>
            </a:r>
          </a:p>
          <a:p>
            <a:r>
              <a:rPr lang="en-US"/>
              <a:t>Together </a:t>
            </a:r>
          </a:p>
          <a:p>
            <a:r>
              <a:rPr lang="en-US"/>
              <a:t>Happy</a:t>
            </a:r>
          </a:p>
          <a:p>
            <a:r>
              <a:rPr lang="en-US"/>
              <a:t>Love each other </a:t>
            </a:r>
          </a:p>
          <a:p>
            <a:r>
              <a:rPr lang="en-US"/>
              <a:t>Have fun</a:t>
            </a:r>
          </a:p>
          <a:p>
            <a:r>
              <a:rPr lang="en-US"/>
              <a:t>Trust</a:t>
            </a:r>
          </a:p>
          <a:p>
            <a:r>
              <a:rPr lang="en-US"/>
              <a:t>Support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859706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upils come up with their own definition of love, that is inclusive of everyone. Teacher comes up with their own and shares as an example if modelling is needed. </a:t>
            </a:r>
          </a:p>
          <a:p>
            <a:endParaRPr lang="en-US"/>
          </a:p>
          <a:p>
            <a:r>
              <a:rPr lang="en-US"/>
              <a:t>Extension idea: </a:t>
            </a:r>
          </a:p>
          <a:p>
            <a:endParaRPr lang="en-US"/>
          </a:p>
          <a:p>
            <a:r>
              <a:rPr lang="en-US"/>
              <a:t>All pupils go back to their class, re-watch the video and re-cap discussions on different types of love. Pupils write and draw their own definitions in a red love heart. Use these hearts to make a display on love and different families. 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58313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3284A6-B1F3-4DA2-8378-B8FFC5B3B0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863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3284A6-B1F3-4DA2-8378-B8FFC5B3B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9C8CF837-04E3-4A3E-96AE-FA4E8DAC0FE7}"/>
              </a:ext>
            </a:extLst>
          </p:cNvPr>
          <p:cNvGrpSpPr/>
          <p:nvPr/>
        </p:nvGrpSpPr>
        <p:grpSpPr>
          <a:xfrm>
            <a:off x="-217562" y="5151967"/>
            <a:ext cx="9988102" cy="1927996"/>
            <a:chOff x="9868703" y="1501004"/>
            <a:chExt cx="9988102" cy="1927996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07421C4-3A52-494C-BBE3-A9E702A2F992}"/>
                </a:ext>
              </a:extLst>
            </p:cNvPr>
            <p:cNvSpPr/>
            <p:nvPr/>
          </p:nvSpPr>
          <p:spPr>
            <a:xfrm rot="10800000" flipH="1" flipV="1">
              <a:off x="10087131" y="1501004"/>
              <a:ext cx="9601200" cy="1708916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DD41973-8A4A-4747-B98F-FE8523B154C0}"/>
                </a:ext>
              </a:extLst>
            </p:cNvPr>
            <p:cNvGrpSpPr/>
            <p:nvPr/>
          </p:nvGrpSpPr>
          <p:grpSpPr>
            <a:xfrm>
              <a:off x="9868703" y="1569458"/>
              <a:ext cx="9988102" cy="1859542"/>
              <a:chOff x="-218428" y="5217537"/>
              <a:chExt cx="9988102" cy="1859542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F07B956-0DC6-4E98-B320-9C7D08324D9D}"/>
                  </a:ext>
                </a:extLst>
              </p:cNvPr>
              <p:cNvSpPr/>
              <p:nvPr/>
            </p:nvSpPr>
            <p:spPr>
              <a:xfrm rot="5400000">
                <a:off x="4602146" y="588441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320DCEF-2B63-41E7-B878-DD02468ADAC7}"/>
                  </a:ext>
                </a:extLst>
              </p:cNvPr>
              <p:cNvSpPr/>
              <p:nvPr/>
            </p:nvSpPr>
            <p:spPr>
              <a:xfrm rot="5400000">
                <a:off x="6551932" y="6667022"/>
                <a:ext cx="266799" cy="266799"/>
              </a:xfrm>
              <a:prstGeom prst="ellipse">
                <a:avLst/>
              </a:prstGeom>
              <a:solidFill>
                <a:srgbClr val="20C2B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3A6F7402-15F8-4EAA-B277-A789F5C275E5}"/>
                  </a:ext>
                </a:extLst>
              </p:cNvPr>
              <p:cNvSpPr/>
              <p:nvPr/>
            </p:nvSpPr>
            <p:spPr>
              <a:xfrm rot="5400000" flipH="1" flipV="1">
                <a:off x="-218428" y="6134314"/>
                <a:ext cx="573069" cy="573069"/>
              </a:xfrm>
              <a:prstGeom prst="ellipse">
                <a:avLst/>
              </a:prstGeom>
              <a:solidFill>
                <a:srgbClr val="EF9A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638F10D-7400-4C23-B614-AB89EDB69BDE}"/>
                  </a:ext>
                </a:extLst>
              </p:cNvPr>
              <p:cNvSpPr/>
              <p:nvPr/>
            </p:nvSpPr>
            <p:spPr>
              <a:xfrm rot="5400000" flipH="1" flipV="1">
                <a:off x="587557" y="5269470"/>
                <a:ext cx="573069" cy="573070"/>
              </a:xfrm>
              <a:prstGeom prst="ellipse">
                <a:avLst/>
              </a:prstGeom>
              <a:solidFill>
                <a:srgbClr val="E29102">
                  <a:alpha val="2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6EE564A-B075-4FF4-9067-419CC5A3B375}"/>
                  </a:ext>
                </a:extLst>
              </p:cNvPr>
              <p:cNvSpPr/>
              <p:nvPr/>
            </p:nvSpPr>
            <p:spPr>
              <a:xfrm rot="5400000" flipH="1" flipV="1">
                <a:off x="1241766" y="5980168"/>
                <a:ext cx="317446" cy="317446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35C01ED-F616-4387-9822-435412AB1775}"/>
                  </a:ext>
                </a:extLst>
              </p:cNvPr>
              <p:cNvSpPr/>
              <p:nvPr/>
            </p:nvSpPr>
            <p:spPr>
              <a:xfrm rot="5400000" flipH="1" flipV="1">
                <a:off x="648988" y="6154424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650CD3F-FC94-4E71-B2C8-D12E90920B22}"/>
                  </a:ext>
                </a:extLst>
              </p:cNvPr>
              <p:cNvSpPr/>
              <p:nvPr/>
            </p:nvSpPr>
            <p:spPr>
              <a:xfrm rot="5400000" flipH="1" flipV="1">
                <a:off x="1724115" y="6314226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E53D683F-5D00-47AA-98D3-391B4B9B6054}"/>
                  </a:ext>
                </a:extLst>
              </p:cNvPr>
              <p:cNvSpPr/>
              <p:nvPr/>
            </p:nvSpPr>
            <p:spPr>
              <a:xfrm rot="5400000" flipH="1" flipV="1">
                <a:off x="2165040" y="611767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0F38BA9-F1D5-4FDF-AFE6-4F722E6068C8}"/>
                  </a:ext>
                </a:extLst>
              </p:cNvPr>
              <p:cNvSpPr/>
              <p:nvPr/>
            </p:nvSpPr>
            <p:spPr>
              <a:xfrm rot="5400000" flipH="1" flipV="1">
                <a:off x="1821337" y="575975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1D5F1D37-5BE0-412D-867C-1E7E7C037812}"/>
                  </a:ext>
                </a:extLst>
              </p:cNvPr>
              <p:cNvSpPr/>
              <p:nvPr/>
            </p:nvSpPr>
            <p:spPr>
              <a:xfrm rot="5400000" flipH="1" flipV="1">
                <a:off x="2384553" y="5693890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B021FCAB-A840-4BA9-9FC2-ABBC56F631C3}"/>
                  </a:ext>
                </a:extLst>
              </p:cNvPr>
              <p:cNvSpPr/>
              <p:nvPr/>
            </p:nvSpPr>
            <p:spPr>
              <a:xfrm rot="5400000" flipH="1" flipV="1">
                <a:off x="2899062" y="5621096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5E79009-6AF1-4945-9982-47BB863826BA}"/>
                  </a:ext>
                </a:extLst>
              </p:cNvPr>
              <p:cNvSpPr/>
              <p:nvPr/>
            </p:nvSpPr>
            <p:spPr>
              <a:xfrm rot="5400000" flipH="1" flipV="1">
                <a:off x="2595168" y="6066853"/>
                <a:ext cx="208251" cy="208251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8FC9CBF-2B3D-4E49-A9B9-ECDDADDBED17}"/>
                  </a:ext>
                </a:extLst>
              </p:cNvPr>
              <p:cNvSpPr/>
              <p:nvPr/>
            </p:nvSpPr>
            <p:spPr>
              <a:xfrm rot="5400000" flipH="1" flipV="1">
                <a:off x="2174376" y="6724870"/>
                <a:ext cx="208251" cy="208251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E6315EE6-F3D0-47A1-9559-901772E332E1}"/>
                  </a:ext>
                </a:extLst>
              </p:cNvPr>
              <p:cNvSpPr/>
              <p:nvPr/>
            </p:nvSpPr>
            <p:spPr>
              <a:xfrm rot="5400000" flipH="1" flipV="1">
                <a:off x="3396381" y="5689404"/>
                <a:ext cx="208251" cy="208251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B4DE1239-FC56-4DE8-A88E-304F6E0DA9D2}"/>
                  </a:ext>
                </a:extLst>
              </p:cNvPr>
              <p:cNvSpPr/>
              <p:nvPr/>
            </p:nvSpPr>
            <p:spPr>
              <a:xfrm rot="5400000" flipH="1" flipV="1">
                <a:off x="3129583" y="521753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5526EC2A-05CB-4EB2-AD9D-219D23AF4CD3}"/>
                  </a:ext>
                </a:extLst>
              </p:cNvPr>
              <p:cNvSpPr/>
              <p:nvPr/>
            </p:nvSpPr>
            <p:spPr>
              <a:xfrm rot="5400000" flipH="1" flipV="1">
                <a:off x="3664917" y="528920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DCF1A430-5298-4D93-97F1-3F4A44DE0317}"/>
                  </a:ext>
                </a:extLst>
              </p:cNvPr>
              <p:cNvSpPr/>
              <p:nvPr/>
            </p:nvSpPr>
            <p:spPr>
              <a:xfrm rot="5400000" flipH="1" flipV="1">
                <a:off x="4193135" y="5827289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12A6835A-56E2-4255-B794-5C7CCDD80837}"/>
                  </a:ext>
                </a:extLst>
              </p:cNvPr>
              <p:cNvSpPr/>
              <p:nvPr/>
            </p:nvSpPr>
            <p:spPr>
              <a:xfrm rot="5400000" flipH="1" flipV="1">
                <a:off x="3883681" y="5696661"/>
                <a:ext cx="208251" cy="208251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F47F63C2-B1AC-4282-BA4C-F0C87DC0DA81}"/>
                  </a:ext>
                </a:extLst>
              </p:cNvPr>
              <p:cNvSpPr/>
              <p:nvPr/>
            </p:nvSpPr>
            <p:spPr>
              <a:xfrm rot="5400000" flipH="1" flipV="1">
                <a:off x="4479087" y="6227036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86BA82B3-0898-4CE8-963D-6980188A955B}"/>
                  </a:ext>
                </a:extLst>
              </p:cNvPr>
              <p:cNvSpPr/>
              <p:nvPr/>
            </p:nvSpPr>
            <p:spPr>
              <a:xfrm rot="5400000">
                <a:off x="9196600" y="5265317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B7C8CE05-12FF-4528-AC4B-9707650B3A6E}"/>
                  </a:ext>
                </a:extLst>
              </p:cNvPr>
              <p:cNvSpPr/>
              <p:nvPr/>
            </p:nvSpPr>
            <p:spPr>
              <a:xfrm rot="5400000">
                <a:off x="8773199" y="6504006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80B26B4-E7E2-494B-9C58-E69B5F6E78F1}"/>
                  </a:ext>
                </a:extLst>
              </p:cNvPr>
              <p:cNvSpPr/>
              <p:nvPr/>
            </p:nvSpPr>
            <p:spPr>
              <a:xfrm rot="5400000">
                <a:off x="8695107" y="5611386"/>
                <a:ext cx="317447" cy="317447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6B00924-542A-45B1-A5DA-D8DAD4607A74}"/>
                  </a:ext>
                </a:extLst>
              </p:cNvPr>
              <p:cNvSpPr/>
              <p:nvPr/>
            </p:nvSpPr>
            <p:spPr>
              <a:xfrm rot="5400000">
                <a:off x="8418109" y="5289207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533CE7BA-2285-4608-9E46-46D91CF0FAF3}"/>
                  </a:ext>
                </a:extLst>
              </p:cNvPr>
              <p:cNvSpPr/>
              <p:nvPr/>
            </p:nvSpPr>
            <p:spPr>
              <a:xfrm rot="5400000">
                <a:off x="8047198" y="5747843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D3728F0-8179-447B-A0EE-C0C74995235E}"/>
                  </a:ext>
                </a:extLst>
              </p:cNvPr>
              <p:cNvSpPr/>
              <p:nvPr/>
            </p:nvSpPr>
            <p:spPr>
              <a:xfrm rot="5400000">
                <a:off x="7457492" y="6208708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36B76A87-F5C6-4FC5-9DCA-3F01DB4C94FC}"/>
                  </a:ext>
                </a:extLst>
              </p:cNvPr>
              <p:cNvSpPr/>
              <p:nvPr/>
            </p:nvSpPr>
            <p:spPr>
              <a:xfrm rot="5400000">
                <a:off x="8357264" y="6000914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3D6BA84E-F2F8-4EAE-8B31-70FA22EDC489}"/>
                  </a:ext>
                </a:extLst>
              </p:cNvPr>
              <p:cNvSpPr/>
              <p:nvPr/>
            </p:nvSpPr>
            <p:spPr>
              <a:xfrm rot="5400000">
                <a:off x="7457493" y="6628761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CD60BC7A-9301-4D68-9B10-787B5E419100}"/>
                  </a:ext>
                </a:extLst>
              </p:cNvPr>
              <p:cNvSpPr/>
              <p:nvPr/>
            </p:nvSpPr>
            <p:spPr>
              <a:xfrm rot="5400000">
                <a:off x="6919723" y="6009408"/>
                <a:ext cx="208251" cy="208251"/>
              </a:xfrm>
              <a:prstGeom prst="ellipse">
                <a:avLst/>
              </a:prstGeom>
              <a:solidFill>
                <a:srgbClr val="4FC5B7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344F3E9A-FE47-4015-8D0D-A0FA1EAAB182}"/>
                  </a:ext>
                </a:extLst>
              </p:cNvPr>
              <p:cNvSpPr/>
              <p:nvPr/>
            </p:nvSpPr>
            <p:spPr>
              <a:xfrm rot="5400000">
                <a:off x="7902227" y="6297716"/>
                <a:ext cx="208251" cy="208251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A25C6660-B885-4E7A-AFCF-9CC85D282079}"/>
                  </a:ext>
                </a:extLst>
              </p:cNvPr>
              <p:cNvSpPr/>
              <p:nvPr/>
            </p:nvSpPr>
            <p:spPr>
              <a:xfrm rot="5400000">
                <a:off x="5121856" y="5809564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0523CAFD-88F5-43B9-8D62-0D25BDE95C6B}"/>
                  </a:ext>
                </a:extLst>
              </p:cNvPr>
              <p:cNvSpPr/>
              <p:nvPr/>
            </p:nvSpPr>
            <p:spPr>
              <a:xfrm rot="5400000">
                <a:off x="6417149" y="6245868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AD889BF-D0C5-48B0-94A2-090DB09E72A9}"/>
                  </a:ext>
                </a:extLst>
              </p:cNvPr>
              <p:cNvSpPr/>
              <p:nvPr/>
            </p:nvSpPr>
            <p:spPr>
              <a:xfrm rot="5400000">
                <a:off x="5972320" y="6035318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74303105-B5FE-498A-999B-7E1DC35B0BE8}"/>
                  </a:ext>
                </a:extLst>
              </p:cNvPr>
              <p:cNvSpPr/>
              <p:nvPr/>
            </p:nvSpPr>
            <p:spPr>
              <a:xfrm rot="5400000">
                <a:off x="6962076" y="6419278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00606DB0-8C2E-42D0-972B-EC251241BDA0}"/>
                  </a:ext>
                </a:extLst>
              </p:cNvPr>
              <p:cNvSpPr/>
              <p:nvPr/>
            </p:nvSpPr>
            <p:spPr>
              <a:xfrm rot="5400000">
                <a:off x="5334895" y="6134313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CD5A4CB-AA7D-486D-A0D8-CE96DFA00E6D}"/>
                  </a:ext>
                </a:extLst>
              </p:cNvPr>
              <p:cNvSpPr/>
              <p:nvPr/>
            </p:nvSpPr>
            <p:spPr>
              <a:xfrm rot="5400000">
                <a:off x="5609156" y="562595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70026BD6-D9B0-4A50-ADFA-0008D39EAEC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5092" y="1459350"/>
            <a:ext cx="6311016" cy="2224800"/>
          </a:xfrm>
          <a:prstGeom prst="rect">
            <a:avLst/>
          </a:prstGeom>
        </p:spPr>
      </p:pic>
      <p:graphicFrame>
        <p:nvGraphicFramePr>
          <p:cNvPr id="59" name="Object 58" hidden="1">
            <a:extLst>
              <a:ext uri="{FF2B5EF4-FFF2-40B4-BE49-F238E27FC236}">
                <a16:creationId xmlns:a16="http://schemas.microsoft.com/office/drawing/2014/main" id="{B391D32F-D340-4BC4-B4CC-A0ACDF7FD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29822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59" name="Object 58" hidden="1">
                        <a:extLst>
                          <a:ext uri="{FF2B5EF4-FFF2-40B4-BE49-F238E27FC236}">
                            <a16:creationId xmlns:a16="http://schemas.microsoft.com/office/drawing/2014/main" id="{B391D32F-D340-4BC4-B4CC-A0ACDF7FD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0" name="Group 59">
            <a:extLst>
              <a:ext uri="{FF2B5EF4-FFF2-40B4-BE49-F238E27FC236}">
                <a16:creationId xmlns:a16="http://schemas.microsoft.com/office/drawing/2014/main" id="{C6FE53E6-1BA9-43CB-8210-FBBD3A87B1BB}"/>
              </a:ext>
            </a:extLst>
          </p:cNvPr>
          <p:cNvGrpSpPr/>
          <p:nvPr userDrawn="1"/>
        </p:nvGrpSpPr>
        <p:grpSpPr>
          <a:xfrm>
            <a:off x="-217562" y="5151967"/>
            <a:ext cx="9988102" cy="1927996"/>
            <a:chOff x="9868703" y="1501004"/>
            <a:chExt cx="9988102" cy="1927996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832285BC-4F77-4A62-8949-03C5A21B5211}"/>
                </a:ext>
              </a:extLst>
            </p:cNvPr>
            <p:cNvSpPr/>
            <p:nvPr userDrawn="1"/>
          </p:nvSpPr>
          <p:spPr>
            <a:xfrm rot="10800000" flipH="1" flipV="1">
              <a:off x="10087131" y="1501004"/>
              <a:ext cx="9601200" cy="1708916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B8C43E2-283D-4D9C-B659-02A6B5FD02FC}"/>
                </a:ext>
              </a:extLst>
            </p:cNvPr>
            <p:cNvGrpSpPr/>
            <p:nvPr userDrawn="1"/>
          </p:nvGrpSpPr>
          <p:grpSpPr>
            <a:xfrm>
              <a:off x="9868703" y="1569458"/>
              <a:ext cx="9988102" cy="1859542"/>
              <a:chOff x="-218428" y="5217537"/>
              <a:chExt cx="9988102" cy="1859542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E99C9421-A3D7-48BB-BDEA-1FFF93735F4F}"/>
                  </a:ext>
                </a:extLst>
              </p:cNvPr>
              <p:cNvSpPr/>
              <p:nvPr/>
            </p:nvSpPr>
            <p:spPr>
              <a:xfrm rot="5400000">
                <a:off x="4602146" y="588441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DEA4AE1D-960F-40E8-87BC-BD92942D79C6}"/>
                  </a:ext>
                </a:extLst>
              </p:cNvPr>
              <p:cNvSpPr/>
              <p:nvPr/>
            </p:nvSpPr>
            <p:spPr>
              <a:xfrm rot="5400000">
                <a:off x="6551932" y="6667022"/>
                <a:ext cx="266799" cy="266799"/>
              </a:xfrm>
              <a:prstGeom prst="ellipse">
                <a:avLst/>
              </a:prstGeom>
              <a:solidFill>
                <a:srgbClr val="20C2B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334509B9-8F49-4BB7-BAE4-CF59E23AE656}"/>
                  </a:ext>
                </a:extLst>
              </p:cNvPr>
              <p:cNvSpPr/>
              <p:nvPr/>
            </p:nvSpPr>
            <p:spPr>
              <a:xfrm rot="5400000" flipH="1" flipV="1">
                <a:off x="-218428" y="6134314"/>
                <a:ext cx="573069" cy="573069"/>
              </a:xfrm>
              <a:prstGeom prst="ellipse">
                <a:avLst/>
              </a:prstGeom>
              <a:solidFill>
                <a:srgbClr val="EF9A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586A4262-F4B6-4EFA-8707-6AF9C50F6455}"/>
                  </a:ext>
                </a:extLst>
              </p:cNvPr>
              <p:cNvSpPr/>
              <p:nvPr/>
            </p:nvSpPr>
            <p:spPr>
              <a:xfrm rot="5400000" flipH="1" flipV="1">
                <a:off x="587557" y="5269470"/>
                <a:ext cx="573069" cy="573070"/>
              </a:xfrm>
              <a:prstGeom prst="ellipse">
                <a:avLst/>
              </a:prstGeom>
              <a:solidFill>
                <a:srgbClr val="E29102">
                  <a:alpha val="2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020E4942-636F-44D8-9E89-8A22ACB191F3}"/>
                  </a:ext>
                </a:extLst>
              </p:cNvPr>
              <p:cNvSpPr/>
              <p:nvPr/>
            </p:nvSpPr>
            <p:spPr>
              <a:xfrm rot="5400000" flipH="1" flipV="1">
                <a:off x="1241766" y="5980168"/>
                <a:ext cx="317446" cy="317446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11A5A96D-049F-4F4A-A32B-E84EE8F0C3DC}"/>
                  </a:ext>
                </a:extLst>
              </p:cNvPr>
              <p:cNvSpPr/>
              <p:nvPr/>
            </p:nvSpPr>
            <p:spPr>
              <a:xfrm rot="5400000" flipH="1" flipV="1">
                <a:off x="648988" y="6154424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A18C51C2-0302-484E-AF58-D9EB0180B718}"/>
                  </a:ext>
                </a:extLst>
              </p:cNvPr>
              <p:cNvSpPr/>
              <p:nvPr/>
            </p:nvSpPr>
            <p:spPr>
              <a:xfrm rot="5400000" flipH="1" flipV="1">
                <a:off x="1724115" y="6314226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EF6D36AC-52DD-4319-B81C-F0A6D6367740}"/>
                  </a:ext>
                </a:extLst>
              </p:cNvPr>
              <p:cNvSpPr/>
              <p:nvPr/>
            </p:nvSpPr>
            <p:spPr>
              <a:xfrm rot="5400000" flipH="1" flipV="1">
                <a:off x="2165040" y="611767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950A052D-A66F-43FE-83A5-9783C8962EC2}"/>
                  </a:ext>
                </a:extLst>
              </p:cNvPr>
              <p:cNvSpPr/>
              <p:nvPr/>
            </p:nvSpPr>
            <p:spPr>
              <a:xfrm rot="5400000" flipH="1" flipV="1">
                <a:off x="1821337" y="575975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88F87FAD-4669-4DBC-AB65-C2D87D511178}"/>
                  </a:ext>
                </a:extLst>
              </p:cNvPr>
              <p:cNvSpPr/>
              <p:nvPr/>
            </p:nvSpPr>
            <p:spPr>
              <a:xfrm rot="5400000" flipH="1" flipV="1">
                <a:off x="2384553" y="5693890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1A618773-2612-484A-8799-C34948D9E97D}"/>
                  </a:ext>
                </a:extLst>
              </p:cNvPr>
              <p:cNvSpPr/>
              <p:nvPr/>
            </p:nvSpPr>
            <p:spPr>
              <a:xfrm rot="5400000" flipH="1" flipV="1">
                <a:off x="2899062" y="5621096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4D567405-20BD-4915-BA70-DCBED14E6477}"/>
                  </a:ext>
                </a:extLst>
              </p:cNvPr>
              <p:cNvSpPr/>
              <p:nvPr/>
            </p:nvSpPr>
            <p:spPr>
              <a:xfrm rot="5400000" flipH="1" flipV="1">
                <a:off x="2595168" y="6066853"/>
                <a:ext cx="208251" cy="208251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24E690D8-B818-4765-9A0F-D378D5CDE6D2}"/>
                  </a:ext>
                </a:extLst>
              </p:cNvPr>
              <p:cNvSpPr/>
              <p:nvPr/>
            </p:nvSpPr>
            <p:spPr>
              <a:xfrm rot="5400000" flipH="1" flipV="1">
                <a:off x="2174376" y="6724870"/>
                <a:ext cx="208251" cy="208251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DAFD03D9-D971-4ADF-ADEC-DE04190785BC}"/>
                  </a:ext>
                </a:extLst>
              </p:cNvPr>
              <p:cNvSpPr/>
              <p:nvPr/>
            </p:nvSpPr>
            <p:spPr>
              <a:xfrm rot="5400000" flipH="1" flipV="1">
                <a:off x="3396381" y="5689404"/>
                <a:ext cx="208251" cy="208251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8DAFC68B-996C-4A8A-86E8-A39917441272}"/>
                  </a:ext>
                </a:extLst>
              </p:cNvPr>
              <p:cNvSpPr/>
              <p:nvPr/>
            </p:nvSpPr>
            <p:spPr>
              <a:xfrm rot="5400000" flipH="1" flipV="1">
                <a:off x="3129583" y="521753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4A4438EE-D2BE-48E3-86C3-6329D73586D3}"/>
                  </a:ext>
                </a:extLst>
              </p:cNvPr>
              <p:cNvSpPr/>
              <p:nvPr/>
            </p:nvSpPr>
            <p:spPr>
              <a:xfrm rot="5400000" flipH="1" flipV="1">
                <a:off x="3664917" y="528920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4FC252BE-0B0D-44D7-B3BE-34D668864D86}"/>
                  </a:ext>
                </a:extLst>
              </p:cNvPr>
              <p:cNvSpPr/>
              <p:nvPr/>
            </p:nvSpPr>
            <p:spPr>
              <a:xfrm rot="5400000" flipH="1" flipV="1">
                <a:off x="4193135" y="5827289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B8D0BCA9-04EF-42D0-A67B-11FFD0B74A33}"/>
                  </a:ext>
                </a:extLst>
              </p:cNvPr>
              <p:cNvSpPr/>
              <p:nvPr/>
            </p:nvSpPr>
            <p:spPr>
              <a:xfrm rot="5400000" flipH="1" flipV="1">
                <a:off x="3883681" y="5696661"/>
                <a:ext cx="208251" cy="208251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2F32DA4-BA97-4268-AA0A-4467B141FB66}"/>
                  </a:ext>
                </a:extLst>
              </p:cNvPr>
              <p:cNvSpPr/>
              <p:nvPr/>
            </p:nvSpPr>
            <p:spPr>
              <a:xfrm rot="5400000" flipH="1" flipV="1">
                <a:off x="4479087" y="6227036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87AD5782-2514-41EA-8DD1-9C31D43FF882}"/>
                  </a:ext>
                </a:extLst>
              </p:cNvPr>
              <p:cNvSpPr/>
              <p:nvPr/>
            </p:nvSpPr>
            <p:spPr>
              <a:xfrm rot="5400000">
                <a:off x="9196600" y="5265317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E7BD73E3-BDD9-4184-A0C2-FF4DFE22AE87}"/>
                  </a:ext>
                </a:extLst>
              </p:cNvPr>
              <p:cNvSpPr/>
              <p:nvPr/>
            </p:nvSpPr>
            <p:spPr>
              <a:xfrm rot="5400000">
                <a:off x="8773199" y="6504006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3E9B016B-8EF9-4375-A89F-554922701ADE}"/>
                  </a:ext>
                </a:extLst>
              </p:cNvPr>
              <p:cNvSpPr/>
              <p:nvPr/>
            </p:nvSpPr>
            <p:spPr>
              <a:xfrm rot="5400000">
                <a:off x="8695107" y="5611386"/>
                <a:ext cx="317447" cy="317447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43FCD29F-DCFF-41FA-9A79-05A1C54C3F85}"/>
                  </a:ext>
                </a:extLst>
              </p:cNvPr>
              <p:cNvSpPr/>
              <p:nvPr/>
            </p:nvSpPr>
            <p:spPr>
              <a:xfrm rot="5400000">
                <a:off x="8418109" y="5289207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A84B51C9-D44A-4807-8A44-2C38A74D0F09}"/>
                  </a:ext>
                </a:extLst>
              </p:cNvPr>
              <p:cNvSpPr/>
              <p:nvPr/>
            </p:nvSpPr>
            <p:spPr>
              <a:xfrm rot="5400000">
                <a:off x="8047198" y="5747843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95399592-66D1-45BC-8CF3-374064F62270}"/>
                  </a:ext>
                </a:extLst>
              </p:cNvPr>
              <p:cNvSpPr/>
              <p:nvPr/>
            </p:nvSpPr>
            <p:spPr>
              <a:xfrm rot="5400000">
                <a:off x="7457492" y="6208708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75B595B4-1EBE-4ACB-B829-0D206F4B9F38}"/>
                  </a:ext>
                </a:extLst>
              </p:cNvPr>
              <p:cNvSpPr/>
              <p:nvPr/>
            </p:nvSpPr>
            <p:spPr>
              <a:xfrm rot="5400000">
                <a:off x="8357264" y="6000914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85812C1D-DCA0-4272-8173-DA347CBA336F}"/>
                  </a:ext>
                </a:extLst>
              </p:cNvPr>
              <p:cNvSpPr/>
              <p:nvPr/>
            </p:nvSpPr>
            <p:spPr>
              <a:xfrm rot="5400000">
                <a:off x="7457493" y="6628761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09C594E2-C0CB-4F39-941C-61EE345C7808}"/>
                  </a:ext>
                </a:extLst>
              </p:cNvPr>
              <p:cNvSpPr/>
              <p:nvPr/>
            </p:nvSpPr>
            <p:spPr>
              <a:xfrm rot="5400000">
                <a:off x="6919723" y="6009408"/>
                <a:ext cx="208251" cy="208251"/>
              </a:xfrm>
              <a:prstGeom prst="ellipse">
                <a:avLst/>
              </a:prstGeom>
              <a:solidFill>
                <a:srgbClr val="4FC5B7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C574AC37-2807-413E-B91D-A046C1FCDAFA}"/>
                  </a:ext>
                </a:extLst>
              </p:cNvPr>
              <p:cNvSpPr/>
              <p:nvPr/>
            </p:nvSpPr>
            <p:spPr>
              <a:xfrm rot="5400000">
                <a:off x="7902227" y="6297716"/>
                <a:ext cx="208251" cy="208251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5330EE47-4FC8-43FC-93EF-0B512C6AFBF2}"/>
                  </a:ext>
                </a:extLst>
              </p:cNvPr>
              <p:cNvSpPr/>
              <p:nvPr/>
            </p:nvSpPr>
            <p:spPr>
              <a:xfrm rot="5400000">
                <a:off x="5121856" y="5809564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6E1A908C-1067-4A44-9A80-839421239139}"/>
                  </a:ext>
                </a:extLst>
              </p:cNvPr>
              <p:cNvSpPr/>
              <p:nvPr/>
            </p:nvSpPr>
            <p:spPr>
              <a:xfrm rot="5400000">
                <a:off x="6417149" y="6245868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8E6D5DA5-0EB0-4A93-8F53-DB1FACA27B50}"/>
                  </a:ext>
                </a:extLst>
              </p:cNvPr>
              <p:cNvSpPr/>
              <p:nvPr/>
            </p:nvSpPr>
            <p:spPr>
              <a:xfrm rot="5400000">
                <a:off x="5972320" y="6035318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EF67687D-3DA1-4D39-A312-5527223F9259}"/>
                  </a:ext>
                </a:extLst>
              </p:cNvPr>
              <p:cNvSpPr/>
              <p:nvPr/>
            </p:nvSpPr>
            <p:spPr>
              <a:xfrm rot="5400000">
                <a:off x="6962076" y="6419278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0DC85091-E6F2-49A7-AC5C-667787BED7BD}"/>
                  </a:ext>
                </a:extLst>
              </p:cNvPr>
              <p:cNvSpPr/>
              <p:nvPr/>
            </p:nvSpPr>
            <p:spPr>
              <a:xfrm rot="5400000">
                <a:off x="5334895" y="6134313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821F95A4-03E6-4EDF-A5B4-2416205C0901}"/>
                  </a:ext>
                </a:extLst>
              </p:cNvPr>
              <p:cNvSpPr/>
              <p:nvPr/>
            </p:nvSpPr>
            <p:spPr>
              <a:xfrm rot="5400000">
                <a:off x="5609156" y="562595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98" name="Picture 97">
            <a:extLst>
              <a:ext uri="{FF2B5EF4-FFF2-40B4-BE49-F238E27FC236}">
                <a16:creationId xmlns:a16="http://schemas.microsoft.com/office/drawing/2014/main" id="{0F66D2CF-AFF5-4A92-8236-D2FFFA47EB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5092" y="1459350"/>
            <a:ext cx="6311016" cy="22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87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mage R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ACD26-AAF3-4DAB-8BF9-A381A8642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FAD67E7A-427A-4752-87A6-579C34AE1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376150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1E9B7A9-6503-488A-A196-DB78D46FAAA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382000" y="1399032"/>
            <a:ext cx="3762000" cy="47916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236026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Image L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ACD26-AAF3-4DAB-8BF9-A381A86428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FAD67E7A-427A-4752-87A6-579C34AE1A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82492" y="1399032"/>
            <a:ext cx="376150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A1E9B7A9-6503-488A-A196-DB78D46FAAA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172442" y="1399032"/>
            <a:ext cx="3762000" cy="47916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86900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A16074C-BFF3-450C-AEFA-39598475E1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883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A16074C-BFF3-450C-AEFA-39598475E1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odyText">
            <a:extLst>
              <a:ext uri="{FF2B5EF4-FFF2-40B4-BE49-F238E27FC236}">
                <a16:creationId xmlns:a16="http://schemas.microsoft.com/office/drawing/2014/main" id="{CA7766CD-B86A-40A3-A77C-80344498563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72442" y="384175"/>
            <a:ext cx="7971558" cy="580707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>
              <a:buNone/>
              <a:defRPr sz="4800"/>
            </a:lvl1pPr>
          </a:lstStyle>
          <a:p>
            <a:pPr lvl="0"/>
            <a:r>
              <a:rPr lang="en-US"/>
              <a:t>Big text</a:t>
            </a:r>
          </a:p>
        </p:txBody>
      </p:sp>
    </p:spTree>
    <p:extLst>
      <p:ext uri="{BB962C8B-B14F-4D97-AF65-F5344CB8AC3E}">
        <p14:creationId xmlns:p14="http://schemas.microsoft.com/office/powerpoint/2010/main" val="2541339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87766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53284A6-B1F3-4DA2-8378-B8FFC5B3B0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0213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53284A6-B1F3-4DA2-8378-B8FFC5B3B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9C8CF837-04E3-4A3E-96AE-FA4E8DAC0FE7}"/>
              </a:ext>
            </a:extLst>
          </p:cNvPr>
          <p:cNvGrpSpPr/>
          <p:nvPr/>
        </p:nvGrpSpPr>
        <p:grpSpPr>
          <a:xfrm>
            <a:off x="-217562" y="5151967"/>
            <a:ext cx="9988102" cy="1927996"/>
            <a:chOff x="9868703" y="1501004"/>
            <a:chExt cx="9988102" cy="1927996"/>
          </a:xfrm>
        </p:grpSpPr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E07421C4-3A52-494C-BBE3-A9E702A2F992}"/>
                </a:ext>
              </a:extLst>
            </p:cNvPr>
            <p:cNvSpPr/>
            <p:nvPr/>
          </p:nvSpPr>
          <p:spPr>
            <a:xfrm rot="10800000" flipH="1" flipV="1">
              <a:off x="10087131" y="1501004"/>
              <a:ext cx="9601200" cy="1708916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DD41973-8A4A-4747-B98F-FE8523B154C0}"/>
                </a:ext>
              </a:extLst>
            </p:cNvPr>
            <p:cNvGrpSpPr/>
            <p:nvPr/>
          </p:nvGrpSpPr>
          <p:grpSpPr>
            <a:xfrm>
              <a:off x="9868703" y="1569458"/>
              <a:ext cx="9988102" cy="1859542"/>
              <a:chOff x="-218428" y="5217537"/>
              <a:chExt cx="9988102" cy="1859542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F07B956-0DC6-4E98-B320-9C7D08324D9D}"/>
                  </a:ext>
                </a:extLst>
              </p:cNvPr>
              <p:cNvSpPr/>
              <p:nvPr/>
            </p:nvSpPr>
            <p:spPr>
              <a:xfrm rot="5400000">
                <a:off x="4602146" y="588441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6320DCEF-2B63-41E7-B878-DD02468ADAC7}"/>
                  </a:ext>
                </a:extLst>
              </p:cNvPr>
              <p:cNvSpPr/>
              <p:nvPr/>
            </p:nvSpPr>
            <p:spPr>
              <a:xfrm rot="5400000">
                <a:off x="6551932" y="6667022"/>
                <a:ext cx="266799" cy="266799"/>
              </a:xfrm>
              <a:prstGeom prst="ellipse">
                <a:avLst/>
              </a:prstGeom>
              <a:solidFill>
                <a:srgbClr val="20C2B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Oval 24">
                <a:extLst>
                  <a:ext uri="{FF2B5EF4-FFF2-40B4-BE49-F238E27FC236}">
                    <a16:creationId xmlns:a16="http://schemas.microsoft.com/office/drawing/2014/main" id="{3A6F7402-15F8-4EAA-B277-A789F5C275E5}"/>
                  </a:ext>
                </a:extLst>
              </p:cNvPr>
              <p:cNvSpPr/>
              <p:nvPr/>
            </p:nvSpPr>
            <p:spPr>
              <a:xfrm rot="5400000" flipH="1" flipV="1">
                <a:off x="-218428" y="6134314"/>
                <a:ext cx="573069" cy="573069"/>
              </a:xfrm>
              <a:prstGeom prst="ellipse">
                <a:avLst/>
              </a:prstGeom>
              <a:solidFill>
                <a:srgbClr val="EF9A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Oval 25">
                <a:extLst>
                  <a:ext uri="{FF2B5EF4-FFF2-40B4-BE49-F238E27FC236}">
                    <a16:creationId xmlns:a16="http://schemas.microsoft.com/office/drawing/2014/main" id="{5638F10D-7400-4C23-B614-AB89EDB69BDE}"/>
                  </a:ext>
                </a:extLst>
              </p:cNvPr>
              <p:cNvSpPr/>
              <p:nvPr/>
            </p:nvSpPr>
            <p:spPr>
              <a:xfrm rot="5400000" flipH="1" flipV="1">
                <a:off x="587557" y="5269470"/>
                <a:ext cx="573069" cy="573070"/>
              </a:xfrm>
              <a:prstGeom prst="ellipse">
                <a:avLst/>
              </a:prstGeom>
              <a:solidFill>
                <a:srgbClr val="E29102">
                  <a:alpha val="2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Oval 26">
                <a:extLst>
                  <a:ext uri="{FF2B5EF4-FFF2-40B4-BE49-F238E27FC236}">
                    <a16:creationId xmlns:a16="http://schemas.microsoft.com/office/drawing/2014/main" id="{66EE564A-B075-4FF4-9067-419CC5A3B375}"/>
                  </a:ext>
                </a:extLst>
              </p:cNvPr>
              <p:cNvSpPr/>
              <p:nvPr/>
            </p:nvSpPr>
            <p:spPr>
              <a:xfrm rot="5400000" flipH="1" flipV="1">
                <a:off x="1241766" y="5980168"/>
                <a:ext cx="317446" cy="317446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835C01ED-F616-4387-9822-435412AB1775}"/>
                  </a:ext>
                </a:extLst>
              </p:cNvPr>
              <p:cNvSpPr/>
              <p:nvPr/>
            </p:nvSpPr>
            <p:spPr>
              <a:xfrm rot="5400000" flipH="1" flipV="1">
                <a:off x="648988" y="6154424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Oval 28">
                <a:extLst>
                  <a:ext uri="{FF2B5EF4-FFF2-40B4-BE49-F238E27FC236}">
                    <a16:creationId xmlns:a16="http://schemas.microsoft.com/office/drawing/2014/main" id="{0650CD3F-FC94-4E71-B2C8-D12E90920B22}"/>
                  </a:ext>
                </a:extLst>
              </p:cNvPr>
              <p:cNvSpPr/>
              <p:nvPr/>
            </p:nvSpPr>
            <p:spPr>
              <a:xfrm rot="5400000" flipH="1" flipV="1">
                <a:off x="1724115" y="6314226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Oval 29">
                <a:extLst>
                  <a:ext uri="{FF2B5EF4-FFF2-40B4-BE49-F238E27FC236}">
                    <a16:creationId xmlns:a16="http://schemas.microsoft.com/office/drawing/2014/main" id="{E53D683F-5D00-47AA-98D3-391B4B9B6054}"/>
                  </a:ext>
                </a:extLst>
              </p:cNvPr>
              <p:cNvSpPr/>
              <p:nvPr/>
            </p:nvSpPr>
            <p:spPr>
              <a:xfrm rot="5400000" flipH="1" flipV="1">
                <a:off x="2165040" y="611767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Oval 30">
                <a:extLst>
                  <a:ext uri="{FF2B5EF4-FFF2-40B4-BE49-F238E27FC236}">
                    <a16:creationId xmlns:a16="http://schemas.microsoft.com/office/drawing/2014/main" id="{A0F38BA9-F1D5-4FDF-AFE6-4F722E6068C8}"/>
                  </a:ext>
                </a:extLst>
              </p:cNvPr>
              <p:cNvSpPr/>
              <p:nvPr/>
            </p:nvSpPr>
            <p:spPr>
              <a:xfrm rot="5400000" flipH="1" flipV="1">
                <a:off x="1821337" y="575975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Oval 31">
                <a:extLst>
                  <a:ext uri="{FF2B5EF4-FFF2-40B4-BE49-F238E27FC236}">
                    <a16:creationId xmlns:a16="http://schemas.microsoft.com/office/drawing/2014/main" id="{1D5F1D37-5BE0-412D-867C-1E7E7C037812}"/>
                  </a:ext>
                </a:extLst>
              </p:cNvPr>
              <p:cNvSpPr/>
              <p:nvPr/>
            </p:nvSpPr>
            <p:spPr>
              <a:xfrm rot="5400000" flipH="1" flipV="1">
                <a:off x="2384553" y="5693890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B021FCAB-A840-4BA9-9FC2-ABBC56F631C3}"/>
                  </a:ext>
                </a:extLst>
              </p:cNvPr>
              <p:cNvSpPr/>
              <p:nvPr/>
            </p:nvSpPr>
            <p:spPr>
              <a:xfrm rot="5400000" flipH="1" flipV="1">
                <a:off x="2899062" y="5621096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85E79009-6AF1-4945-9982-47BB863826BA}"/>
                  </a:ext>
                </a:extLst>
              </p:cNvPr>
              <p:cNvSpPr/>
              <p:nvPr/>
            </p:nvSpPr>
            <p:spPr>
              <a:xfrm rot="5400000" flipH="1" flipV="1">
                <a:off x="2595168" y="6066853"/>
                <a:ext cx="208251" cy="208251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A8FC9CBF-2B3D-4E49-A9B9-ECDDADDBED17}"/>
                  </a:ext>
                </a:extLst>
              </p:cNvPr>
              <p:cNvSpPr/>
              <p:nvPr/>
            </p:nvSpPr>
            <p:spPr>
              <a:xfrm rot="5400000" flipH="1" flipV="1">
                <a:off x="2174376" y="6724870"/>
                <a:ext cx="208251" cy="208251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E6315EE6-F3D0-47A1-9559-901772E332E1}"/>
                  </a:ext>
                </a:extLst>
              </p:cNvPr>
              <p:cNvSpPr/>
              <p:nvPr/>
            </p:nvSpPr>
            <p:spPr>
              <a:xfrm rot="5400000" flipH="1" flipV="1">
                <a:off x="3396381" y="5689404"/>
                <a:ext cx="208251" cy="208251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B4DE1239-FC56-4DE8-A88E-304F6E0DA9D2}"/>
                  </a:ext>
                </a:extLst>
              </p:cNvPr>
              <p:cNvSpPr/>
              <p:nvPr/>
            </p:nvSpPr>
            <p:spPr>
              <a:xfrm rot="5400000" flipH="1" flipV="1">
                <a:off x="3129583" y="521753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Oval 37">
                <a:extLst>
                  <a:ext uri="{FF2B5EF4-FFF2-40B4-BE49-F238E27FC236}">
                    <a16:creationId xmlns:a16="http://schemas.microsoft.com/office/drawing/2014/main" id="{5526EC2A-05CB-4EB2-AD9D-219D23AF4CD3}"/>
                  </a:ext>
                </a:extLst>
              </p:cNvPr>
              <p:cNvSpPr/>
              <p:nvPr/>
            </p:nvSpPr>
            <p:spPr>
              <a:xfrm rot="5400000" flipH="1" flipV="1">
                <a:off x="3664917" y="528920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DCF1A430-5298-4D93-97F1-3F4A44DE0317}"/>
                  </a:ext>
                </a:extLst>
              </p:cNvPr>
              <p:cNvSpPr/>
              <p:nvPr/>
            </p:nvSpPr>
            <p:spPr>
              <a:xfrm rot="5400000" flipH="1" flipV="1">
                <a:off x="4193135" y="5827289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Oval 39">
                <a:extLst>
                  <a:ext uri="{FF2B5EF4-FFF2-40B4-BE49-F238E27FC236}">
                    <a16:creationId xmlns:a16="http://schemas.microsoft.com/office/drawing/2014/main" id="{12A6835A-56E2-4255-B794-5C7CCDD80837}"/>
                  </a:ext>
                </a:extLst>
              </p:cNvPr>
              <p:cNvSpPr/>
              <p:nvPr/>
            </p:nvSpPr>
            <p:spPr>
              <a:xfrm rot="5400000" flipH="1" flipV="1">
                <a:off x="3883681" y="5696661"/>
                <a:ext cx="208251" cy="208251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F47F63C2-B1AC-4282-BA4C-F0C87DC0DA81}"/>
                  </a:ext>
                </a:extLst>
              </p:cNvPr>
              <p:cNvSpPr/>
              <p:nvPr/>
            </p:nvSpPr>
            <p:spPr>
              <a:xfrm rot="5400000" flipH="1" flipV="1">
                <a:off x="4479087" y="6227036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Oval 41">
                <a:extLst>
                  <a:ext uri="{FF2B5EF4-FFF2-40B4-BE49-F238E27FC236}">
                    <a16:creationId xmlns:a16="http://schemas.microsoft.com/office/drawing/2014/main" id="{86BA82B3-0898-4CE8-963D-6980188A955B}"/>
                  </a:ext>
                </a:extLst>
              </p:cNvPr>
              <p:cNvSpPr/>
              <p:nvPr/>
            </p:nvSpPr>
            <p:spPr>
              <a:xfrm rot="5400000">
                <a:off x="9196600" y="5265317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B7C8CE05-12FF-4528-AC4B-9707650B3A6E}"/>
                  </a:ext>
                </a:extLst>
              </p:cNvPr>
              <p:cNvSpPr/>
              <p:nvPr/>
            </p:nvSpPr>
            <p:spPr>
              <a:xfrm rot="5400000">
                <a:off x="8773199" y="6504006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A80B26B4-E7E2-494B-9C58-E69B5F6E78F1}"/>
                  </a:ext>
                </a:extLst>
              </p:cNvPr>
              <p:cNvSpPr/>
              <p:nvPr/>
            </p:nvSpPr>
            <p:spPr>
              <a:xfrm rot="5400000">
                <a:off x="8695107" y="5611386"/>
                <a:ext cx="317447" cy="317447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6B00924-542A-45B1-A5DA-D8DAD4607A74}"/>
                  </a:ext>
                </a:extLst>
              </p:cNvPr>
              <p:cNvSpPr/>
              <p:nvPr/>
            </p:nvSpPr>
            <p:spPr>
              <a:xfrm rot="5400000">
                <a:off x="8418109" y="5289207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533CE7BA-2285-4608-9E46-46D91CF0FAF3}"/>
                  </a:ext>
                </a:extLst>
              </p:cNvPr>
              <p:cNvSpPr/>
              <p:nvPr/>
            </p:nvSpPr>
            <p:spPr>
              <a:xfrm rot="5400000">
                <a:off x="8047198" y="5747843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AD3728F0-8179-447B-A0EE-C0C74995235E}"/>
                  </a:ext>
                </a:extLst>
              </p:cNvPr>
              <p:cNvSpPr/>
              <p:nvPr/>
            </p:nvSpPr>
            <p:spPr>
              <a:xfrm rot="5400000">
                <a:off x="7457492" y="6208708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Oval 47">
                <a:extLst>
                  <a:ext uri="{FF2B5EF4-FFF2-40B4-BE49-F238E27FC236}">
                    <a16:creationId xmlns:a16="http://schemas.microsoft.com/office/drawing/2014/main" id="{36B76A87-F5C6-4FC5-9DCA-3F01DB4C94FC}"/>
                  </a:ext>
                </a:extLst>
              </p:cNvPr>
              <p:cNvSpPr/>
              <p:nvPr/>
            </p:nvSpPr>
            <p:spPr>
              <a:xfrm rot="5400000">
                <a:off x="8357264" y="6000914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3D6BA84E-F2F8-4EAE-8B31-70FA22EDC489}"/>
                  </a:ext>
                </a:extLst>
              </p:cNvPr>
              <p:cNvSpPr/>
              <p:nvPr/>
            </p:nvSpPr>
            <p:spPr>
              <a:xfrm rot="5400000">
                <a:off x="7457493" y="6628761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Oval 49">
                <a:extLst>
                  <a:ext uri="{FF2B5EF4-FFF2-40B4-BE49-F238E27FC236}">
                    <a16:creationId xmlns:a16="http://schemas.microsoft.com/office/drawing/2014/main" id="{CD60BC7A-9301-4D68-9B10-787B5E419100}"/>
                  </a:ext>
                </a:extLst>
              </p:cNvPr>
              <p:cNvSpPr/>
              <p:nvPr/>
            </p:nvSpPr>
            <p:spPr>
              <a:xfrm rot="5400000">
                <a:off x="6919723" y="6009408"/>
                <a:ext cx="208251" cy="208251"/>
              </a:xfrm>
              <a:prstGeom prst="ellipse">
                <a:avLst/>
              </a:prstGeom>
              <a:solidFill>
                <a:srgbClr val="4FC5B7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344F3E9A-FE47-4015-8D0D-A0FA1EAAB182}"/>
                  </a:ext>
                </a:extLst>
              </p:cNvPr>
              <p:cNvSpPr/>
              <p:nvPr/>
            </p:nvSpPr>
            <p:spPr>
              <a:xfrm rot="5400000">
                <a:off x="7902227" y="6297716"/>
                <a:ext cx="208251" cy="208251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Oval 51">
                <a:extLst>
                  <a:ext uri="{FF2B5EF4-FFF2-40B4-BE49-F238E27FC236}">
                    <a16:creationId xmlns:a16="http://schemas.microsoft.com/office/drawing/2014/main" id="{A25C6660-B885-4E7A-AFCF-9CC85D282079}"/>
                  </a:ext>
                </a:extLst>
              </p:cNvPr>
              <p:cNvSpPr/>
              <p:nvPr/>
            </p:nvSpPr>
            <p:spPr>
              <a:xfrm rot="5400000">
                <a:off x="5121856" y="5809564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0523CAFD-88F5-43B9-8D62-0D25BDE95C6B}"/>
                  </a:ext>
                </a:extLst>
              </p:cNvPr>
              <p:cNvSpPr/>
              <p:nvPr/>
            </p:nvSpPr>
            <p:spPr>
              <a:xfrm rot="5400000">
                <a:off x="6417149" y="6245868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Oval 53">
                <a:extLst>
                  <a:ext uri="{FF2B5EF4-FFF2-40B4-BE49-F238E27FC236}">
                    <a16:creationId xmlns:a16="http://schemas.microsoft.com/office/drawing/2014/main" id="{1AD889BF-D0C5-48B0-94A2-090DB09E72A9}"/>
                  </a:ext>
                </a:extLst>
              </p:cNvPr>
              <p:cNvSpPr/>
              <p:nvPr/>
            </p:nvSpPr>
            <p:spPr>
              <a:xfrm rot="5400000">
                <a:off x="5972320" y="6035318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74303105-B5FE-498A-999B-7E1DC35B0BE8}"/>
                  </a:ext>
                </a:extLst>
              </p:cNvPr>
              <p:cNvSpPr/>
              <p:nvPr/>
            </p:nvSpPr>
            <p:spPr>
              <a:xfrm rot="5400000">
                <a:off x="6962076" y="6419278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Oval 55">
                <a:extLst>
                  <a:ext uri="{FF2B5EF4-FFF2-40B4-BE49-F238E27FC236}">
                    <a16:creationId xmlns:a16="http://schemas.microsoft.com/office/drawing/2014/main" id="{00606DB0-8C2E-42D0-972B-EC251241BDA0}"/>
                  </a:ext>
                </a:extLst>
              </p:cNvPr>
              <p:cNvSpPr/>
              <p:nvPr/>
            </p:nvSpPr>
            <p:spPr>
              <a:xfrm rot="5400000">
                <a:off x="5334895" y="6134313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BCD5A4CB-AA7D-486D-A0D8-CE96DFA00E6D}"/>
                  </a:ext>
                </a:extLst>
              </p:cNvPr>
              <p:cNvSpPr/>
              <p:nvPr/>
            </p:nvSpPr>
            <p:spPr>
              <a:xfrm rot="5400000">
                <a:off x="5609156" y="562595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58" name="Picture 57">
            <a:extLst>
              <a:ext uri="{FF2B5EF4-FFF2-40B4-BE49-F238E27FC236}">
                <a16:creationId xmlns:a16="http://schemas.microsoft.com/office/drawing/2014/main" id="{70026BD6-D9B0-4A50-ADFA-0008D39EAEC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5092" y="1459350"/>
            <a:ext cx="6311016" cy="2224800"/>
          </a:xfrm>
          <a:prstGeom prst="rect">
            <a:avLst/>
          </a:prstGeom>
        </p:spPr>
      </p:pic>
      <p:graphicFrame>
        <p:nvGraphicFramePr>
          <p:cNvPr id="59" name="Object 58" hidden="1">
            <a:extLst>
              <a:ext uri="{FF2B5EF4-FFF2-40B4-BE49-F238E27FC236}">
                <a16:creationId xmlns:a16="http://schemas.microsoft.com/office/drawing/2014/main" id="{B391D32F-D340-4BC4-B4CC-A0ACDF7FDB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157922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59" name="Object 58" hidden="1">
                        <a:extLst>
                          <a:ext uri="{FF2B5EF4-FFF2-40B4-BE49-F238E27FC236}">
                            <a16:creationId xmlns:a16="http://schemas.microsoft.com/office/drawing/2014/main" id="{B391D32F-D340-4BC4-B4CC-A0ACDF7FDB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0" name="Group 59">
            <a:extLst>
              <a:ext uri="{FF2B5EF4-FFF2-40B4-BE49-F238E27FC236}">
                <a16:creationId xmlns:a16="http://schemas.microsoft.com/office/drawing/2014/main" id="{C6FE53E6-1BA9-43CB-8210-FBBD3A87B1BB}"/>
              </a:ext>
            </a:extLst>
          </p:cNvPr>
          <p:cNvGrpSpPr/>
          <p:nvPr userDrawn="1"/>
        </p:nvGrpSpPr>
        <p:grpSpPr>
          <a:xfrm>
            <a:off x="-217562" y="5151967"/>
            <a:ext cx="9988102" cy="1927996"/>
            <a:chOff x="9868703" y="1501004"/>
            <a:chExt cx="9988102" cy="1927996"/>
          </a:xfrm>
        </p:grpSpPr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832285BC-4F77-4A62-8949-03C5A21B5211}"/>
                </a:ext>
              </a:extLst>
            </p:cNvPr>
            <p:cNvSpPr/>
            <p:nvPr userDrawn="1"/>
          </p:nvSpPr>
          <p:spPr>
            <a:xfrm rot="10800000" flipH="1" flipV="1">
              <a:off x="10087131" y="1501004"/>
              <a:ext cx="9601200" cy="1708916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6B8C43E2-283D-4D9C-B659-02A6B5FD02FC}"/>
                </a:ext>
              </a:extLst>
            </p:cNvPr>
            <p:cNvGrpSpPr/>
            <p:nvPr userDrawn="1"/>
          </p:nvGrpSpPr>
          <p:grpSpPr>
            <a:xfrm>
              <a:off x="9868703" y="1569458"/>
              <a:ext cx="9988102" cy="1859542"/>
              <a:chOff x="-218428" y="5217537"/>
              <a:chExt cx="9988102" cy="1859542"/>
            </a:xfrm>
          </p:grpSpPr>
          <p:sp>
            <p:nvSpPr>
              <p:cNvPr id="63" name="Oval 62">
                <a:extLst>
                  <a:ext uri="{FF2B5EF4-FFF2-40B4-BE49-F238E27FC236}">
                    <a16:creationId xmlns:a16="http://schemas.microsoft.com/office/drawing/2014/main" id="{E99C9421-A3D7-48BB-BDEA-1FFF93735F4F}"/>
                  </a:ext>
                </a:extLst>
              </p:cNvPr>
              <p:cNvSpPr/>
              <p:nvPr/>
            </p:nvSpPr>
            <p:spPr>
              <a:xfrm rot="5400000">
                <a:off x="4602146" y="588441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Oval 63">
                <a:extLst>
                  <a:ext uri="{FF2B5EF4-FFF2-40B4-BE49-F238E27FC236}">
                    <a16:creationId xmlns:a16="http://schemas.microsoft.com/office/drawing/2014/main" id="{DEA4AE1D-960F-40E8-87BC-BD92942D79C6}"/>
                  </a:ext>
                </a:extLst>
              </p:cNvPr>
              <p:cNvSpPr/>
              <p:nvPr/>
            </p:nvSpPr>
            <p:spPr>
              <a:xfrm rot="5400000">
                <a:off x="6551932" y="6667022"/>
                <a:ext cx="266799" cy="266799"/>
              </a:xfrm>
              <a:prstGeom prst="ellipse">
                <a:avLst/>
              </a:prstGeom>
              <a:solidFill>
                <a:srgbClr val="20C2B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334509B9-8F49-4BB7-BAE4-CF59E23AE656}"/>
                  </a:ext>
                </a:extLst>
              </p:cNvPr>
              <p:cNvSpPr/>
              <p:nvPr/>
            </p:nvSpPr>
            <p:spPr>
              <a:xfrm rot="5400000" flipH="1" flipV="1">
                <a:off x="-218428" y="6134314"/>
                <a:ext cx="573069" cy="573069"/>
              </a:xfrm>
              <a:prstGeom prst="ellipse">
                <a:avLst/>
              </a:prstGeom>
              <a:solidFill>
                <a:srgbClr val="EF9A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586A4262-F4B6-4EFA-8707-6AF9C50F6455}"/>
                  </a:ext>
                </a:extLst>
              </p:cNvPr>
              <p:cNvSpPr/>
              <p:nvPr/>
            </p:nvSpPr>
            <p:spPr>
              <a:xfrm rot="5400000" flipH="1" flipV="1">
                <a:off x="587557" y="5269470"/>
                <a:ext cx="573069" cy="573070"/>
              </a:xfrm>
              <a:prstGeom prst="ellipse">
                <a:avLst/>
              </a:prstGeom>
              <a:solidFill>
                <a:srgbClr val="E29102">
                  <a:alpha val="2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020E4942-636F-44D8-9E89-8A22ACB191F3}"/>
                  </a:ext>
                </a:extLst>
              </p:cNvPr>
              <p:cNvSpPr/>
              <p:nvPr/>
            </p:nvSpPr>
            <p:spPr>
              <a:xfrm rot="5400000" flipH="1" flipV="1">
                <a:off x="1241766" y="5980168"/>
                <a:ext cx="317446" cy="317446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11A5A96D-049F-4F4A-A32B-E84EE8F0C3DC}"/>
                  </a:ext>
                </a:extLst>
              </p:cNvPr>
              <p:cNvSpPr/>
              <p:nvPr/>
            </p:nvSpPr>
            <p:spPr>
              <a:xfrm rot="5400000" flipH="1" flipV="1">
                <a:off x="648988" y="6154424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A18C51C2-0302-484E-AF58-D9EB0180B718}"/>
                  </a:ext>
                </a:extLst>
              </p:cNvPr>
              <p:cNvSpPr/>
              <p:nvPr/>
            </p:nvSpPr>
            <p:spPr>
              <a:xfrm rot="5400000" flipH="1" flipV="1">
                <a:off x="1724115" y="6314226"/>
                <a:ext cx="266798" cy="266798"/>
              </a:xfrm>
              <a:prstGeom prst="ellipse">
                <a:avLst/>
              </a:prstGeom>
              <a:solidFill>
                <a:srgbClr val="E29102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EF6D36AC-52DD-4319-B81C-F0A6D6367740}"/>
                  </a:ext>
                </a:extLst>
              </p:cNvPr>
              <p:cNvSpPr/>
              <p:nvPr/>
            </p:nvSpPr>
            <p:spPr>
              <a:xfrm rot="5400000" flipH="1" flipV="1">
                <a:off x="2165040" y="611767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950A052D-A66F-43FE-83A5-9783C8962EC2}"/>
                  </a:ext>
                </a:extLst>
              </p:cNvPr>
              <p:cNvSpPr/>
              <p:nvPr/>
            </p:nvSpPr>
            <p:spPr>
              <a:xfrm rot="5400000" flipH="1" flipV="1">
                <a:off x="1821337" y="5759755"/>
                <a:ext cx="266798" cy="266798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2" name="Oval 71">
                <a:extLst>
                  <a:ext uri="{FF2B5EF4-FFF2-40B4-BE49-F238E27FC236}">
                    <a16:creationId xmlns:a16="http://schemas.microsoft.com/office/drawing/2014/main" id="{88F87FAD-4669-4DBC-AB65-C2D87D511178}"/>
                  </a:ext>
                </a:extLst>
              </p:cNvPr>
              <p:cNvSpPr/>
              <p:nvPr/>
            </p:nvSpPr>
            <p:spPr>
              <a:xfrm rot="5400000" flipH="1" flipV="1">
                <a:off x="2384553" y="5693890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1A618773-2612-484A-8799-C34948D9E97D}"/>
                  </a:ext>
                </a:extLst>
              </p:cNvPr>
              <p:cNvSpPr/>
              <p:nvPr/>
            </p:nvSpPr>
            <p:spPr>
              <a:xfrm rot="5400000" flipH="1" flipV="1">
                <a:off x="2899062" y="5621096"/>
                <a:ext cx="266798" cy="266798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4D567405-20BD-4915-BA70-DCBED14E6477}"/>
                  </a:ext>
                </a:extLst>
              </p:cNvPr>
              <p:cNvSpPr/>
              <p:nvPr/>
            </p:nvSpPr>
            <p:spPr>
              <a:xfrm rot="5400000" flipH="1" flipV="1">
                <a:off x="2595168" y="6066853"/>
                <a:ext cx="208251" cy="208251"/>
              </a:xfrm>
              <a:prstGeom prst="ellipse">
                <a:avLst/>
              </a:prstGeom>
              <a:solidFill>
                <a:srgbClr val="97A7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24E690D8-B818-4765-9A0F-D378D5CDE6D2}"/>
                  </a:ext>
                </a:extLst>
              </p:cNvPr>
              <p:cNvSpPr/>
              <p:nvPr/>
            </p:nvSpPr>
            <p:spPr>
              <a:xfrm rot="5400000" flipH="1" flipV="1">
                <a:off x="2174376" y="6724870"/>
                <a:ext cx="208251" cy="208251"/>
              </a:xfrm>
              <a:prstGeom prst="ellipse">
                <a:avLst/>
              </a:prstGeom>
              <a:solidFill>
                <a:srgbClr val="FAA123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DAFD03D9-D971-4ADF-ADEC-DE04190785BC}"/>
                  </a:ext>
                </a:extLst>
              </p:cNvPr>
              <p:cNvSpPr/>
              <p:nvPr/>
            </p:nvSpPr>
            <p:spPr>
              <a:xfrm rot="5400000" flipH="1" flipV="1">
                <a:off x="3396381" y="5689404"/>
                <a:ext cx="208251" cy="208251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8DAFC68B-996C-4A8A-86E8-A39917441272}"/>
                  </a:ext>
                </a:extLst>
              </p:cNvPr>
              <p:cNvSpPr/>
              <p:nvPr/>
            </p:nvSpPr>
            <p:spPr>
              <a:xfrm rot="5400000" flipH="1" flipV="1">
                <a:off x="3129583" y="521753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8" name="Oval 77">
                <a:extLst>
                  <a:ext uri="{FF2B5EF4-FFF2-40B4-BE49-F238E27FC236}">
                    <a16:creationId xmlns:a16="http://schemas.microsoft.com/office/drawing/2014/main" id="{4A4438EE-D2BE-48E3-86C3-6329D73586D3}"/>
                  </a:ext>
                </a:extLst>
              </p:cNvPr>
              <p:cNvSpPr/>
              <p:nvPr/>
            </p:nvSpPr>
            <p:spPr>
              <a:xfrm rot="5400000" flipH="1" flipV="1">
                <a:off x="3664917" y="5289207"/>
                <a:ext cx="266798" cy="266798"/>
              </a:xfrm>
              <a:prstGeom prst="ellipse">
                <a:avLst/>
              </a:prstGeom>
              <a:solidFill>
                <a:srgbClr val="ACBD0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4FC252BE-0B0D-44D7-B3BE-34D668864D86}"/>
                  </a:ext>
                </a:extLst>
              </p:cNvPr>
              <p:cNvSpPr/>
              <p:nvPr/>
            </p:nvSpPr>
            <p:spPr>
              <a:xfrm rot="5400000" flipH="1" flipV="1">
                <a:off x="4193135" y="5827289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B8D0BCA9-04EF-42D0-A67B-11FFD0B74A33}"/>
                  </a:ext>
                </a:extLst>
              </p:cNvPr>
              <p:cNvSpPr/>
              <p:nvPr/>
            </p:nvSpPr>
            <p:spPr>
              <a:xfrm rot="5400000" flipH="1" flipV="1">
                <a:off x="3883681" y="5696661"/>
                <a:ext cx="208251" cy="208251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2F32DA4-BA97-4268-AA0A-4467B141FB66}"/>
                  </a:ext>
                </a:extLst>
              </p:cNvPr>
              <p:cNvSpPr/>
              <p:nvPr/>
            </p:nvSpPr>
            <p:spPr>
              <a:xfrm rot="5400000" flipH="1" flipV="1">
                <a:off x="4479087" y="6227036"/>
                <a:ext cx="266798" cy="266798"/>
              </a:xfrm>
              <a:prstGeom prst="ellipse">
                <a:avLst/>
              </a:prstGeom>
              <a:solidFill>
                <a:srgbClr val="BAD53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2" name="Oval 81">
                <a:extLst>
                  <a:ext uri="{FF2B5EF4-FFF2-40B4-BE49-F238E27FC236}">
                    <a16:creationId xmlns:a16="http://schemas.microsoft.com/office/drawing/2014/main" id="{87AD5782-2514-41EA-8DD1-9C31D43FF882}"/>
                  </a:ext>
                </a:extLst>
              </p:cNvPr>
              <p:cNvSpPr/>
              <p:nvPr/>
            </p:nvSpPr>
            <p:spPr>
              <a:xfrm rot="5400000">
                <a:off x="9196600" y="5265317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E7BD73E3-BDD9-4184-A0C2-FF4DFE22AE87}"/>
                  </a:ext>
                </a:extLst>
              </p:cNvPr>
              <p:cNvSpPr/>
              <p:nvPr/>
            </p:nvSpPr>
            <p:spPr>
              <a:xfrm rot="5400000">
                <a:off x="8773199" y="6504006"/>
                <a:ext cx="573073" cy="573074"/>
              </a:xfrm>
              <a:prstGeom prst="ellipse">
                <a:avLst/>
              </a:prstGeom>
              <a:solidFill>
                <a:srgbClr val="D26CC6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3E9B016B-8EF9-4375-A89F-554922701ADE}"/>
                  </a:ext>
                </a:extLst>
              </p:cNvPr>
              <p:cNvSpPr/>
              <p:nvPr/>
            </p:nvSpPr>
            <p:spPr>
              <a:xfrm rot="5400000">
                <a:off x="8695107" y="5611386"/>
                <a:ext cx="317447" cy="317447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5" name="Oval 84">
                <a:extLst>
                  <a:ext uri="{FF2B5EF4-FFF2-40B4-BE49-F238E27FC236}">
                    <a16:creationId xmlns:a16="http://schemas.microsoft.com/office/drawing/2014/main" id="{43FCD29F-DCFF-41FA-9A79-05A1C54C3F85}"/>
                  </a:ext>
                </a:extLst>
              </p:cNvPr>
              <p:cNvSpPr/>
              <p:nvPr/>
            </p:nvSpPr>
            <p:spPr>
              <a:xfrm rot="5400000">
                <a:off x="8418109" y="5289207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A84B51C9-D44A-4807-8A44-2C38A74D0F09}"/>
                  </a:ext>
                </a:extLst>
              </p:cNvPr>
              <p:cNvSpPr/>
              <p:nvPr/>
            </p:nvSpPr>
            <p:spPr>
              <a:xfrm rot="5400000">
                <a:off x="8047198" y="5747843"/>
                <a:ext cx="266799" cy="266799"/>
              </a:xfrm>
              <a:prstGeom prst="ellipse">
                <a:avLst/>
              </a:prstGeom>
              <a:solidFill>
                <a:srgbClr val="AE379B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95399592-66D1-45BC-8CF3-374064F62270}"/>
                  </a:ext>
                </a:extLst>
              </p:cNvPr>
              <p:cNvSpPr/>
              <p:nvPr/>
            </p:nvSpPr>
            <p:spPr>
              <a:xfrm rot="5400000">
                <a:off x="7457492" y="6208708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8" name="Oval 87">
                <a:extLst>
                  <a:ext uri="{FF2B5EF4-FFF2-40B4-BE49-F238E27FC236}">
                    <a16:creationId xmlns:a16="http://schemas.microsoft.com/office/drawing/2014/main" id="{75B595B4-1EBE-4ACB-B829-0D206F4B9F38}"/>
                  </a:ext>
                </a:extLst>
              </p:cNvPr>
              <p:cNvSpPr/>
              <p:nvPr/>
            </p:nvSpPr>
            <p:spPr>
              <a:xfrm rot="5400000">
                <a:off x="8357264" y="6000914"/>
                <a:ext cx="266799" cy="266799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89" name="Oval 88">
                <a:extLst>
                  <a:ext uri="{FF2B5EF4-FFF2-40B4-BE49-F238E27FC236}">
                    <a16:creationId xmlns:a16="http://schemas.microsoft.com/office/drawing/2014/main" id="{85812C1D-DCA0-4272-8173-DA347CBA336F}"/>
                  </a:ext>
                </a:extLst>
              </p:cNvPr>
              <p:cNvSpPr/>
              <p:nvPr/>
            </p:nvSpPr>
            <p:spPr>
              <a:xfrm rot="5400000">
                <a:off x="7457493" y="6628761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0" name="Oval 89">
                <a:extLst>
                  <a:ext uri="{FF2B5EF4-FFF2-40B4-BE49-F238E27FC236}">
                    <a16:creationId xmlns:a16="http://schemas.microsoft.com/office/drawing/2014/main" id="{09C594E2-C0CB-4F39-941C-61EE345C7808}"/>
                  </a:ext>
                </a:extLst>
              </p:cNvPr>
              <p:cNvSpPr/>
              <p:nvPr/>
            </p:nvSpPr>
            <p:spPr>
              <a:xfrm rot="5400000">
                <a:off x="6919723" y="6009408"/>
                <a:ext cx="208251" cy="208251"/>
              </a:xfrm>
              <a:prstGeom prst="ellipse">
                <a:avLst/>
              </a:prstGeom>
              <a:solidFill>
                <a:srgbClr val="4FC5B7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C574AC37-2807-413E-B91D-A046C1FCDAFA}"/>
                  </a:ext>
                </a:extLst>
              </p:cNvPr>
              <p:cNvSpPr/>
              <p:nvPr/>
            </p:nvSpPr>
            <p:spPr>
              <a:xfrm rot="5400000">
                <a:off x="7902227" y="6297716"/>
                <a:ext cx="208251" cy="208251"/>
              </a:xfrm>
              <a:prstGeom prst="ellipse">
                <a:avLst/>
              </a:prstGeom>
              <a:solidFill>
                <a:srgbClr val="AC46A0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2" name="Oval 91">
                <a:extLst>
                  <a:ext uri="{FF2B5EF4-FFF2-40B4-BE49-F238E27FC236}">
                    <a16:creationId xmlns:a16="http://schemas.microsoft.com/office/drawing/2014/main" id="{5330EE47-4FC8-43FC-93EF-0B512C6AFBF2}"/>
                  </a:ext>
                </a:extLst>
              </p:cNvPr>
              <p:cNvSpPr/>
              <p:nvPr/>
            </p:nvSpPr>
            <p:spPr>
              <a:xfrm rot="5400000">
                <a:off x="5121856" y="5809564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3" name="Oval 92">
                <a:extLst>
                  <a:ext uri="{FF2B5EF4-FFF2-40B4-BE49-F238E27FC236}">
                    <a16:creationId xmlns:a16="http://schemas.microsoft.com/office/drawing/2014/main" id="{6E1A908C-1067-4A44-9A80-839421239139}"/>
                  </a:ext>
                </a:extLst>
              </p:cNvPr>
              <p:cNvSpPr/>
              <p:nvPr/>
            </p:nvSpPr>
            <p:spPr>
              <a:xfrm rot="5400000">
                <a:off x="6417149" y="6245868"/>
                <a:ext cx="208251" cy="208251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Oval 93">
                <a:extLst>
                  <a:ext uri="{FF2B5EF4-FFF2-40B4-BE49-F238E27FC236}">
                    <a16:creationId xmlns:a16="http://schemas.microsoft.com/office/drawing/2014/main" id="{8E6D5DA5-0EB0-4A93-8F53-DB1FACA27B50}"/>
                  </a:ext>
                </a:extLst>
              </p:cNvPr>
              <p:cNvSpPr/>
              <p:nvPr/>
            </p:nvSpPr>
            <p:spPr>
              <a:xfrm rot="5400000">
                <a:off x="5972320" y="6035318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5" name="Oval 94">
                <a:extLst>
                  <a:ext uri="{FF2B5EF4-FFF2-40B4-BE49-F238E27FC236}">
                    <a16:creationId xmlns:a16="http://schemas.microsoft.com/office/drawing/2014/main" id="{EF67687D-3DA1-4D39-A312-5527223F9259}"/>
                  </a:ext>
                </a:extLst>
              </p:cNvPr>
              <p:cNvSpPr/>
              <p:nvPr/>
            </p:nvSpPr>
            <p:spPr>
              <a:xfrm rot="5400000">
                <a:off x="6962076" y="6419278"/>
                <a:ext cx="266799" cy="266799"/>
              </a:xfrm>
              <a:prstGeom prst="ellipse">
                <a:avLst/>
              </a:prstGeom>
              <a:solidFill>
                <a:srgbClr val="47D0C4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6" name="Oval 95">
                <a:extLst>
                  <a:ext uri="{FF2B5EF4-FFF2-40B4-BE49-F238E27FC236}">
                    <a16:creationId xmlns:a16="http://schemas.microsoft.com/office/drawing/2014/main" id="{0DC85091-E6F2-49A7-AC5C-667787BED7BD}"/>
                  </a:ext>
                </a:extLst>
              </p:cNvPr>
              <p:cNvSpPr/>
              <p:nvPr/>
            </p:nvSpPr>
            <p:spPr>
              <a:xfrm rot="5400000">
                <a:off x="5334895" y="6134313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Oval 96">
                <a:extLst>
                  <a:ext uri="{FF2B5EF4-FFF2-40B4-BE49-F238E27FC236}">
                    <a16:creationId xmlns:a16="http://schemas.microsoft.com/office/drawing/2014/main" id="{821F95A4-03E6-4EDF-A5B4-2416205C0901}"/>
                  </a:ext>
                </a:extLst>
              </p:cNvPr>
              <p:cNvSpPr/>
              <p:nvPr/>
            </p:nvSpPr>
            <p:spPr>
              <a:xfrm rot="5400000">
                <a:off x="5609156" y="5625956"/>
                <a:ext cx="266799" cy="266799"/>
              </a:xfrm>
              <a:prstGeom prst="ellipse">
                <a:avLst/>
              </a:prstGeom>
              <a:solidFill>
                <a:srgbClr val="1BA498">
                  <a:alpha val="50196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3152" tIns="73152" rIns="73152" bIns="73152" rtlCol="0" anchor="ctr"/>
              <a:lstStyle/>
              <a:p>
                <a:pPr algn="ctr"/>
                <a:endParaRPr lang="en-GB" sz="1000" kern="0" err="1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98" name="Picture 97">
            <a:extLst>
              <a:ext uri="{FF2B5EF4-FFF2-40B4-BE49-F238E27FC236}">
                <a16:creationId xmlns:a16="http://schemas.microsoft.com/office/drawing/2014/main" id="{0F66D2CF-AFF5-4A92-8236-D2FFFA47EB3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5092" y="1459350"/>
            <a:ext cx="6311016" cy="222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7438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73A18A6-76FA-48DA-8050-671AD8FA73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6312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73A18A6-76FA-48DA-8050-671AD8FA73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964134"/>
            <a:ext cx="2422179" cy="435185"/>
          </a:xfrm>
          <a:prstGeom prst="rect">
            <a:avLst/>
          </a:prstGeom>
        </p:spPr>
        <p:txBody>
          <a:bodyPr lIns="0" tIns="72000" rIns="0" bIns="72000" anchor="t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kern="0" baseline="0">
                <a:solidFill>
                  <a:srgbClr val="595959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t>Section #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D110FA-A414-48D6-AE9E-AFF6C72AD2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405395"/>
            <a:ext cx="8686800" cy="659539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4800">
                <a:solidFill>
                  <a:srgbClr val="595959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4BF7611D-42E3-43F4-BC0B-821B18B9D5A0}"/>
              </a:ext>
            </a:extLst>
          </p:cNvPr>
          <p:cNvGrpSpPr/>
          <p:nvPr/>
        </p:nvGrpSpPr>
        <p:grpSpPr>
          <a:xfrm>
            <a:off x="-217562" y="5220421"/>
            <a:ext cx="9988102" cy="1859542"/>
            <a:chOff x="-218428" y="5217537"/>
            <a:chExt cx="9988102" cy="1859542"/>
          </a:xfrm>
        </p:grpSpPr>
        <p:sp>
          <p:nvSpPr>
            <p:cNvPr id="155" name="Oval 154">
              <a:extLst>
                <a:ext uri="{FF2B5EF4-FFF2-40B4-BE49-F238E27FC236}">
                  <a16:creationId xmlns:a16="http://schemas.microsoft.com/office/drawing/2014/main" id="{32375D6B-B51C-4490-8A64-178F439693FE}"/>
                </a:ext>
              </a:extLst>
            </p:cNvPr>
            <p:cNvSpPr/>
            <p:nvPr/>
          </p:nvSpPr>
          <p:spPr>
            <a:xfrm rot="5400000">
              <a:off x="4602146" y="5884416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6" name="Oval 155">
              <a:extLst>
                <a:ext uri="{FF2B5EF4-FFF2-40B4-BE49-F238E27FC236}">
                  <a16:creationId xmlns:a16="http://schemas.microsoft.com/office/drawing/2014/main" id="{8C2AD8E5-7746-4116-9F4B-E297C4ECA89F}"/>
                </a:ext>
              </a:extLst>
            </p:cNvPr>
            <p:cNvSpPr/>
            <p:nvPr/>
          </p:nvSpPr>
          <p:spPr>
            <a:xfrm rot="5400000">
              <a:off x="6551932" y="6667022"/>
              <a:ext cx="266799" cy="266799"/>
            </a:xfrm>
            <a:prstGeom prst="ellipse">
              <a:avLst/>
            </a:prstGeom>
            <a:solidFill>
              <a:srgbClr val="20C2B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7B4DE57F-225C-41D0-8A85-31788C13A49F}"/>
                </a:ext>
              </a:extLst>
            </p:cNvPr>
            <p:cNvSpPr/>
            <p:nvPr/>
          </p:nvSpPr>
          <p:spPr>
            <a:xfrm rot="5400000" flipH="1" flipV="1">
              <a:off x="-218428" y="6134314"/>
              <a:ext cx="573069" cy="573069"/>
            </a:xfrm>
            <a:prstGeom prst="ellipse">
              <a:avLst/>
            </a:prstGeom>
            <a:solidFill>
              <a:srgbClr val="EF9A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8" name="Oval 157">
              <a:extLst>
                <a:ext uri="{FF2B5EF4-FFF2-40B4-BE49-F238E27FC236}">
                  <a16:creationId xmlns:a16="http://schemas.microsoft.com/office/drawing/2014/main" id="{5A91F9D8-4B3A-4DD6-988E-771762C91D55}"/>
                </a:ext>
              </a:extLst>
            </p:cNvPr>
            <p:cNvSpPr/>
            <p:nvPr/>
          </p:nvSpPr>
          <p:spPr>
            <a:xfrm rot="5400000" flipH="1" flipV="1">
              <a:off x="587557" y="5269470"/>
              <a:ext cx="573069" cy="573070"/>
            </a:xfrm>
            <a:prstGeom prst="ellipse">
              <a:avLst/>
            </a:prstGeom>
            <a:solidFill>
              <a:srgbClr val="E29102">
                <a:alpha val="2509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9" name="Oval 158">
              <a:extLst>
                <a:ext uri="{FF2B5EF4-FFF2-40B4-BE49-F238E27FC236}">
                  <a16:creationId xmlns:a16="http://schemas.microsoft.com/office/drawing/2014/main" id="{0934AD71-EEA8-49AE-8FB2-7CCE638FC142}"/>
                </a:ext>
              </a:extLst>
            </p:cNvPr>
            <p:cNvSpPr/>
            <p:nvPr/>
          </p:nvSpPr>
          <p:spPr>
            <a:xfrm rot="5400000" flipH="1" flipV="1">
              <a:off x="1241766" y="5980168"/>
              <a:ext cx="317446" cy="317446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0" name="Oval 159">
              <a:extLst>
                <a:ext uri="{FF2B5EF4-FFF2-40B4-BE49-F238E27FC236}">
                  <a16:creationId xmlns:a16="http://schemas.microsoft.com/office/drawing/2014/main" id="{9DBC33A8-D270-451F-B804-BB581A66BD9F}"/>
                </a:ext>
              </a:extLst>
            </p:cNvPr>
            <p:cNvSpPr/>
            <p:nvPr/>
          </p:nvSpPr>
          <p:spPr>
            <a:xfrm rot="5400000" flipH="1" flipV="1">
              <a:off x="648988" y="6154424"/>
              <a:ext cx="266798" cy="26679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1" name="Oval 160">
              <a:extLst>
                <a:ext uri="{FF2B5EF4-FFF2-40B4-BE49-F238E27FC236}">
                  <a16:creationId xmlns:a16="http://schemas.microsoft.com/office/drawing/2014/main" id="{FB09A26A-6DE0-477B-A1FA-DE8B096D6D44}"/>
                </a:ext>
              </a:extLst>
            </p:cNvPr>
            <p:cNvSpPr/>
            <p:nvPr/>
          </p:nvSpPr>
          <p:spPr>
            <a:xfrm rot="5400000" flipH="1" flipV="1">
              <a:off x="1724115" y="6314226"/>
              <a:ext cx="266798" cy="26679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9BDDA4C8-BEDB-45D9-8349-064930530D93}"/>
                </a:ext>
              </a:extLst>
            </p:cNvPr>
            <p:cNvSpPr/>
            <p:nvPr/>
          </p:nvSpPr>
          <p:spPr>
            <a:xfrm rot="5400000" flipH="1" flipV="1">
              <a:off x="2165040" y="6117675"/>
              <a:ext cx="266798" cy="266798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3" name="Oval 162">
              <a:extLst>
                <a:ext uri="{FF2B5EF4-FFF2-40B4-BE49-F238E27FC236}">
                  <a16:creationId xmlns:a16="http://schemas.microsoft.com/office/drawing/2014/main" id="{2629EE5A-252C-4E78-A382-FEAD0C32E163}"/>
                </a:ext>
              </a:extLst>
            </p:cNvPr>
            <p:cNvSpPr/>
            <p:nvPr/>
          </p:nvSpPr>
          <p:spPr>
            <a:xfrm rot="5400000" flipH="1" flipV="1">
              <a:off x="1821337" y="5759755"/>
              <a:ext cx="266798" cy="266798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4" name="Oval 163">
              <a:extLst>
                <a:ext uri="{FF2B5EF4-FFF2-40B4-BE49-F238E27FC236}">
                  <a16:creationId xmlns:a16="http://schemas.microsoft.com/office/drawing/2014/main" id="{11C3041D-A029-40E0-A257-C1EEF2F70639}"/>
                </a:ext>
              </a:extLst>
            </p:cNvPr>
            <p:cNvSpPr/>
            <p:nvPr/>
          </p:nvSpPr>
          <p:spPr>
            <a:xfrm rot="5400000" flipH="1" flipV="1">
              <a:off x="2384553" y="5693890"/>
              <a:ext cx="266798" cy="266798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5" name="Oval 164">
              <a:extLst>
                <a:ext uri="{FF2B5EF4-FFF2-40B4-BE49-F238E27FC236}">
                  <a16:creationId xmlns:a16="http://schemas.microsoft.com/office/drawing/2014/main" id="{985D1C8C-E8F0-4B71-8F5E-6842547D0C97}"/>
                </a:ext>
              </a:extLst>
            </p:cNvPr>
            <p:cNvSpPr/>
            <p:nvPr/>
          </p:nvSpPr>
          <p:spPr>
            <a:xfrm rot="5400000" flipH="1" flipV="1">
              <a:off x="2899062" y="5621096"/>
              <a:ext cx="266798" cy="266798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6" name="Oval 165">
              <a:extLst>
                <a:ext uri="{FF2B5EF4-FFF2-40B4-BE49-F238E27FC236}">
                  <a16:creationId xmlns:a16="http://schemas.microsoft.com/office/drawing/2014/main" id="{7EB1AE0F-704E-45B7-93B1-B231D9141E6D}"/>
                </a:ext>
              </a:extLst>
            </p:cNvPr>
            <p:cNvSpPr/>
            <p:nvPr/>
          </p:nvSpPr>
          <p:spPr>
            <a:xfrm rot="5400000" flipH="1" flipV="1">
              <a:off x="2595168" y="6066853"/>
              <a:ext cx="208251" cy="208251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7" name="Oval 166">
              <a:extLst>
                <a:ext uri="{FF2B5EF4-FFF2-40B4-BE49-F238E27FC236}">
                  <a16:creationId xmlns:a16="http://schemas.microsoft.com/office/drawing/2014/main" id="{2CA59176-452D-4B47-A7F6-B27ABB5B81D1}"/>
                </a:ext>
              </a:extLst>
            </p:cNvPr>
            <p:cNvSpPr/>
            <p:nvPr/>
          </p:nvSpPr>
          <p:spPr>
            <a:xfrm rot="5400000" flipH="1" flipV="1">
              <a:off x="2174376" y="6724870"/>
              <a:ext cx="208251" cy="208251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8" name="Oval 167">
              <a:extLst>
                <a:ext uri="{FF2B5EF4-FFF2-40B4-BE49-F238E27FC236}">
                  <a16:creationId xmlns:a16="http://schemas.microsoft.com/office/drawing/2014/main" id="{16A33D48-4736-472F-B020-ADEC1BC2A2CA}"/>
                </a:ext>
              </a:extLst>
            </p:cNvPr>
            <p:cNvSpPr/>
            <p:nvPr/>
          </p:nvSpPr>
          <p:spPr>
            <a:xfrm rot="5400000" flipH="1" flipV="1">
              <a:off x="3396381" y="5689404"/>
              <a:ext cx="208251" cy="208251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9" name="Oval 168">
              <a:extLst>
                <a:ext uri="{FF2B5EF4-FFF2-40B4-BE49-F238E27FC236}">
                  <a16:creationId xmlns:a16="http://schemas.microsoft.com/office/drawing/2014/main" id="{5BB619CA-CF0D-4BE8-8A00-EF9C6315CBD9}"/>
                </a:ext>
              </a:extLst>
            </p:cNvPr>
            <p:cNvSpPr/>
            <p:nvPr/>
          </p:nvSpPr>
          <p:spPr>
            <a:xfrm rot="5400000" flipH="1" flipV="1">
              <a:off x="3129583" y="5217537"/>
              <a:ext cx="266798" cy="266798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0" name="Oval 169">
              <a:extLst>
                <a:ext uri="{FF2B5EF4-FFF2-40B4-BE49-F238E27FC236}">
                  <a16:creationId xmlns:a16="http://schemas.microsoft.com/office/drawing/2014/main" id="{6EB4794B-16F6-401D-BFDA-FC6085C26239}"/>
                </a:ext>
              </a:extLst>
            </p:cNvPr>
            <p:cNvSpPr/>
            <p:nvPr/>
          </p:nvSpPr>
          <p:spPr>
            <a:xfrm rot="5400000" flipH="1" flipV="1">
              <a:off x="3664917" y="5289207"/>
              <a:ext cx="266798" cy="266798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1" name="Oval 170">
              <a:extLst>
                <a:ext uri="{FF2B5EF4-FFF2-40B4-BE49-F238E27FC236}">
                  <a16:creationId xmlns:a16="http://schemas.microsoft.com/office/drawing/2014/main" id="{EA78E75F-E7BD-4EE4-A463-D011A36966F3}"/>
                </a:ext>
              </a:extLst>
            </p:cNvPr>
            <p:cNvSpPr/>
            <p:nvPr/>
          </p:nvSpPr>
          <p:spPr>
            <a:xfrm rot="5400000" flipH="1" flipV="1">
              <a:off x="4193135" y="5827289"/>
              <a:ext cx="266798" cy="266798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2" name="Oval 171">
              <a:extLst>
                <a:ext uri="{FF2B5EF4-FFF2-40B4-BE49-F238E27FC236}">
                  <a16:creationId xmlns:a16="http://schemas.microsoft.com/office/drawing/2014/main" id="{EDF59141-BE88-40BC-A531-971284432848}"/>
                </a:ext>
              </a:extLst>
            </p:cNvPr>
            <p:cNvSpPr/>
            <p:nvPr/>
          </p:nvSpPr>
          <p:spPr>
            <a:xfrm rot="5400000" flipH="1" flipV="1">
              <a:off x="3883681" y="5696661"/>
              <a:ext cx="208251" cy="208251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3" name="Oval 172">
              <a:extLst>
                <a:ext uri="{FF2B5EF4-FFF2-40B4-BE49-F238E27FC236}">
                  <a16:creationId xmlns:a16="http://schemas.microsoft.com/office/drawing/2014/main" id="{F1BB4B8B-CD1E-4AA9-AA34-BDE8DDA102B8}"/>
                </a:ext>
              </a:extLst>
            </p:cNvPr>
            <p:cNvSpPr/>
            <p:nvPr/>
          </p:nvSpPr>
          <p:spPr>
            <a:xfrm rot="5400000" flipH="1" flipV="1">
              <a:off x="4479087" y="6227036"/>
              <a:ext cx="266798" cy="266798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4" name="Oval 173">
              <a:extLst>
                <a:ext uri="{FF2B5EF4-FFF2-40B4-BE49-F238E27FC236}">
                  <a16:creationId xmlns:a16="http://schemas.microsoft.com/office/drawing/2014/main" id="{DCB9264F-3397-42B3-96CB-88B706FF6987}"/>
                </a:ext>
              </a:extLst>
            </p:cNvPr>
            <p:cNvSpPr/>
            <p:nvPr/>
          </p:nvSpPr>
          <p:spPr>
            <a:xfrm rot="5400000">
              <a:off x="9196600" y="5265317"/>
              <a:ext cx="573073" cy="573074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5" name="Oval 174">
              <a:extLst>
                <a:ext uri="{FF2B5EF4-FFF2-40B4-BE49-F238E27FC236}">
                  <a16:creationId xmlns:a16="http://schemas.microsoft.com/office/drawing/2014/main" id="{70DDB2EB-8721-4A44-88DB-9E759A5BAD9D}"/>
                </a:ext>
              </a:extLst>
            </p:cNvPr>
            <p:cNvSpPr/>
            <p:nvPr/>
          </p:nvSpPr>
          <p:spPr>
            <a:xfrm rot="5400000">
              <a:off x="8773199" y="6504006"/>
              <a:ext cx="573073" cy="573074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6" name="Oval 175">
              <a:extLst>
                <a:ext uri="{FF2B5EF4-FFF2-40B4-BE49-F238E27FC236}">
                  <a16:creationId xmlns:a16="http://schemas.microsoft.com/office/drawing/2014/main" id="{1C6CC94D-24F6-448A-A797-6CE3844272B6}"/>
                </a:ext>
              </a:extLst>
            </p:cNvPr>
            <p:cNvSpPr/>
            <p:nvPr/>
          </p:nvSpPr>
          <p:spPr>
            <a:xfrm rot="5400000">
              <a:off x="8695107" y="5611386"/>
              <a:ext cx="317447" cy="317447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7" name="Oval 176">
              <a:extLst>
                <a:ext uri="{FF2B5EF4-FFF2-40B4-BE49-F238E27FC236}">
                  <a16:creationId xmlns:a16="http://schemas.microsoft.com/office/drawing/2014/main" id="{CAF9FDC4-31B1-4AE3-991C-AEB223752FF0}"/>
                </a:ext>
              </a:extLst>
            </p:cNvPr>
            <p:cNvSpPr/>
            <p:nvPr/>
          </p:nvSpPr>
          <p:spPr>
            <a:xfrm rot="5400000">
              <a:off x="8418109" y="5289207"/>
              <a:ext cx="266799" cy="266799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468BE724-7098-4147-B880-17BF3A657BAD}"/>
                </a:ext>
              </a:extLst>
            </p:cNvPr>
            <p:cNvSpPr/>
            <p:nvPr/>
          </p:nvSpPr>
          <p:spPr>
            <a:xfrm rot="5400000">
              <a:off x="8047198" y="5747843"/>
              <a:ext cx="266799" cy="266799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9" name="Oval 178">
              <a:extLst>
                <a:ext uri="{FF2B5EF4-FFF2-40B4-BE49-F238E27FC236}">
                  <a16:creationId xmlns:a16="http://schemas.microsoft.com/office/drawing/2014/main" id="{B0B064CD-DAE8-4BBA-9552-804C1195FFD3}"/>
                </a:ext>
              </a:extLst>
            </p:cNvPr>
            <p:cNvSpPr/>
            <p:nvPr/>
          </p:nvSpPr>
          <p:spPr>
            <a:xfrm rot="5400000">
              <a:off x="7457492" y="6208708"/>
              <a:ext cx="266799" cy="266799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0" name="Oval 179">
              <a:extLst>
                <a:ext uri="{FF2B5EF4-FFF2-40B4-BE49-F238E27FC236}">
                  <a16:creationId xmlns:a16="http://schemas.microsoft.com/office/drawing/2014/main" id="{0E229B63-9AAE-4756-B1A6-F66991A81791}"/>
                </a:ext>
              </a:extLst>
            </p:cNvPr>
            <p:cNvSpPr/>
            <p:nvPr/>
          </p:nvSpPr>
          <p:spPr>
            <a:xfrm rot="5400000">
              <a:off x="8357264" y="6000914"/>
              <a:ext cx="266799" cy="266799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D5D5DB7A-C5BC-4847-85B9-EA20D971C6CE}"/>
                </a:ext>
              </a:extLst>
            </p:cNvPr>
            <p:cNvSpPr/>
            <p:nvPr/>
          </p:nvSpPr>
          <p:spPr>
            <a:xfrm rot="5400000">
              <a:off x="7457493" y="6628761"/>
              <a:ext cx="266799" cy="266799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2" name="Oval 181">
              <a:extLst>
                <a:ext uri="{FF2B5EF4-FFF2-40B4-BE49-F238E27FC236}">
                  <a16:creationId xmlns:a16="http://schemas.microsoft.com/office/drawing/2014/main" id="{92B2F32E-F17B-416A-9498-385D5D58390D}"/>
                </a:ext>
              </a:extLst>
            </p:cNvPr>
            <p:cNvSpPr/>
            <p:nvPr/>
          </p:nvSpPr>
          <p:spPr>
            <a:xfrm rot="5400000">
              <a:off x="6919723" y="6009408"/>
              <a:ext cx="208251" cy="208251"/>
            </a:xfrm>
            <a:prstGeom prst="ellipse">
              <a:avLst/>
            </a:prstGeom>
            <a:solidFill>
              <a:srgbClr val="4FC5B7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3" name="Oval 182">
              <a:extLst>
                <a:ext uri="{FF2B5EF4-FFF2-40B4-BE49-F238E27FC236}">
                  <a16:creationId xmlns:a16="http://schemas.microsoft.com/office/drawing/2014/main" id="{9763F110-985A-4F5E-8147-C6096FE15DDF}"/>
                </a:ext>
              </a:extLst>
            </p:cNvPr>
            <p:cNvSpPr/>
            <p:nvPr/>
          </p:nvSpPr>
          <p:spPr>
            <a:xfrm rot="5400000">
              <a:off x="7902227" y="6297716"/>
              <a:ext cx="208251" cy="208251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AA53A26D-8A92-4B2D-8F89-21276CC3DE12}"/>
                </a:ext>
              </a:extLst>
            </p:cNvPr>
            <p:cNvSpPr/>
            <p:nvPr/>
          </p:nvSpPr>
          <p:spPr>
            <a:xfrm rot="5400000">
              <a:off x="5121856" y="5809564"/>
              <a:ext cx="208251" cy="208251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5" name="Oval 184">
              <a:extLst>
                <a:ext uri="{FF2B5EF4-FFF2-40B4-BE49-F238E27FC236}">
                  <a16:creationId xmlns:a16="http://schemas.microsoft.com/office/drawing/2014/main" id="{9562C613-71E6-4E94-95A6-A16130B9F2D4}"/>
                </a:ext>
              </a:extLst>
            </p:cNvPr>
            <p:cNvSpPr/>
            <p:nvPr/>
          </p:nvSpPr>
          <p:spPr>
            <a:xfrm rot="5400000">
              <a:off x="6417149" y="6245868"/>
              <a:ext cx="208251" cy="208251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6" name="Oval 185">
              <a:extLst>
                <a:ext uri="{FF2B5EF4-FFF2-40B4-BE49-F238E27FC236}">
                  <a16:creationId xmlns:a16="http://schemas.microsoft.com/office/drawing/2014/main" id="{34D15442-729A-4794-8A1C-2AE0683BE646}"/>
                </a:ext>
              </a:extLst>
            </p:cNvPr>
            <p:cNvSpPr/>
            <p:nvPr/>
          </p:nvSpPr>
          <p:spPr>
            <a:xfrm rot="5400000">
              <a:off x="5972320" y="6035318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474C28AF-8720-4AF2-8BD1-1993F8F10B68}"/>
                </a:ext>
              </a:extLst>
            </p:cNvPr>
            <p:cNvSpPr/>
            <p:nvPr/>
          </p:nvSpPr>
          <p:spPr>
            <a:xfrm rot="5400000">
              <a:off x="6962076" y="6419278"/>
              <a:ext cx="266799" cy="266799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8" name="Oval 187">
              <a:extLst>
                <a:ext uri="{FF2B5EF4-FFF2-40B4-BE49-F238E27FC236}">
                  <a16:creationId xmlns:a16="http://schemas.microsoft.com/office/drawing/2014/main" id="{0456209E-9961-4605-8ABD-BCD9E967D155}"/>
                </a:ext>
              </a:extLst>
            </p:cNvPr>
            <p:cNvSpPr/>
            <p:nvPr/>
          </p:nvSpPr>
          <p:spPr>
            <a:xfrm rot="5400000">
              <a:off x="5334895" y="6134313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9" name="Oval 188">
              <a:extLst>
                <a:ext uri="{FF2B5EF4-FFF2-40B4-BE49-F238E27FC236}">
                  <a16:creationId xmlns:a16="http://schemas.microsoft.com/office/drawing/2014/main" id="{C84995E0-EA41-481D-8CE0-05FD6328E6DA}"/>
                </a:ext>
              </a:extLst>
            </p:cNvPr>
            <p:cNvSpPr/>
            <p:nvPr/>
          </p:nvSpPr>
          <p:spPr>
            <a:xfrm rot="5400000">
              <a:off x="5609156" y="5625956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992A9A36-08C0-4530-B0D0-99A9A8AA81E9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963" y="390602"/>
            <a:ext cx="2930844" cy="1033200"/>
          </a:xfrm>
          <a:prstGeom prst="rect">
            <a:avLst/>
          </a:prstGeom>
        </p:spPr>
      </p:pic>
      <p:grpSp>
        <p:nvGrpSpPr>
          <p:cNvPr id="41" name="Group 40">
            <a:extLst>
              <a:ext uri="{FF2B5EF4-FFF2-40B4-BE49-F238E27FC236}">
                <a16:creationId xmlns:a16="http://schemas.microsoft.com/office/drawing/2014/main" id="{60D44B21-DB71-42F2-B4FB-34A3E6D9A69B}"/>
              </a:ext>
            </a:extLst>
          </p:cNvPr>
          <p:cNvGrpSpPr/>
          <p:nvPr userDrawn="1"/>
        </p:nvGrpSpPr>
        <p:grpSpPr>
          <a:xfrm>
            <a:off x="-217562" y="5220421"/>
            <a:ext cx="9988102" cy="1859542"/>
            <a:chOff x="-218428" y="5217537"/>
            <a:chExt cx="9988102" cy="1859542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A13F6FB9-9958-4AED-924C-7BC7E04587E9}"/>
                </a:ext>
              </a:extLst>
            </p:cNvPr>
            <p:cNvSpPr/>
            <p:nvPr/>
          </p:nvSpPr>
          <p:spPr>
            <a:xfrm rot="5400000">
              <a:off x="4602146" y="5884416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F3C968AA-38F7-40AC-9A1F-02FC81C976DE}"/>
                </a:ext>
              </a:extLst>
            </p:cNvPr>
            <p:cNvSpPr/>
            <p:nvPr/>
          </p:nvSpPr>
          <p:spPr>
            <a:xfrm rot="5400000">
              <a:off x="6551932" y="6667022"/>
              <a:ext cx="266799" cy="266799"/>
            </a:xfrm>
            <a:prstGeom prst="ellipse">
              <a:avLst/>
            </a:prstGeom>
            <a:solidFill>
              <a:srgbClr val="20C2B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7FCA15FF-8A98-4F93-930A-75347F1167B0}"/>
                </a:ext>
              </a:extLst>
            </p:cNvPr>
            <p:cNvSpPr/>
            <p:nvPr/>
          </p:nvSpPr>
          <p:spPr>
            <a:xfrm rot="5400000" flipH="1" flipV="1">
              <a:off x="-218428" y="6134314"/>
              <a:ext cx="573069" cy="573069"/>
            </a:xfrm>
            <a:prstGeom prst="ellipse">
              <a:avLst/>
            </a:prstGeom>
            <a:solidFill>
              <a:srgbClr val="EF9A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A066E0AC-D2B6-4690-B076-F02AB9AD2F56}"/>
                </a:ext>
              </a:extLst>
            </p:cNvPr>
            <p:cNvSpPr/>
            <p:nvPr/>
          </p:nvSpPr>
          <p:spPr>
            <a:xfrm rot="5400000" flipH="1" flipV="1">
              <a:off x="587557" y="5269470"/>
              <a:ext cx="573069" cy="573070"/>
            </a:xfrm>
            <a:prstGeom prst="ellipse">
              <a:avLst/>
            </a:prstGeom>
            <a:solidFill>
              <a:srgbClr val="E29102">
                <a:alpha val="2509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915ACAD-364C-4697-8DE5-87831952C733}"/>
                </a:ext>
              </a:extLst>
            </p:cNvPr>
            <p:cNvSpPr/>
            <p:nvPr/>
          </p:nvSpPr>
          <p:spPr>
            <a:xfrm rot="5400000" flipH="1" flipV="1">
              <a:off x="1241766" y="5980168"/>
              <a:ext cx="317446" cy="317446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734318C0-A00A-49B9-BE59-C86202E22A66}"/>
                </a:ext>
              </a:extLst>
            </p:cNvPr>
            <p:cNvSpPr/>
            <p:nvPr/>
          </p:nvSpPr>
          <p:spPr>
            <a:xfrm rot="5400000" flipH="1" flipV="1">
              <a:off x="648988" y="6154424"/>
              <a:ext cx="266798" cy="26679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7E2EF00-663E-4B2E-9546-BA7B9F132141}"/>
                </a:ext>
              </a:extLst>
            </p:cNvPr>
            <p:cNvSpPr/>
            <p:nvPr/>
          </p:nvSpPr>
          <p:spPr>
            <a:xfrm rot="5400000" flipH="1" flipV="1">
              <a:off x="1724115" y="6314226"/>
              <a:ext cx="266798" cy="26679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4229BF2E-DDFF-4F5A-BA8F-11852529DF6C}"/>
                </a:ext>
              </a:extLst>
            </p:cNvPr>
            <p:cNvSpPr/>
            <p:nvPr/>
          </p:nvSpPr>
          <p:spPr>
            <a:xfrm rot="5400000" flipH="1" flipV="1">
              <a:off x="2165040" y="6117675"/>
              <a:ext cx="266798" cy="266798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7C335CF5-4A73-48BE-BECC-192830F266B1}"/>
                </a:ext>
              </a:extLst>
            </p:cNvPr>
            <p:cNvSpPr/>
            <p:nvPr/>
          </p:nvSpPr>
          <p:spPr>
            <a:xfrm rot="5400000" flipH="1" flipV="1">
              <a:off x="1821337" y="5759755"/>
              <a:ext cx="266798" cy="266798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7E7D4885-B4F4-4445-A359-6F83F892DCA2}"/>
                </a:ext>
              </a:extLst>
            </p:cNvPr>
            <p:cNvSpPr/>
            <p:nvPr/>
          </p:nvSpPr>
          <p:spPr>
            <a:xfrm rot="5400000" flipH="1" flipV="1">
              <a:off x="2384553" y="5693890"/>
              <a:ext cx="266798" cy="266798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EE9D349F-CA88-441E-B5F8-E5AC14DE1C51}"/>
                </a:ext>
              </a:extLst>
            </p:cNvPr>
            <p:cNvSpPr/>
            <p:nvPr/>
          </p:nvSpPr>
          <p:spPr>
            <a:xfrm rot="5400000" flipH="1" flipV="1">
              <a:off x="2899062" y="5621096"/>
              <a:ext cx="266798" cy="266798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F9411950-754C-4097-843B-7D89C6820CFD}"/>
                </a:ext>
              </a:extLst>
            </p:cNvPr>
            <p:cNvSpPr/>
            <p:nvPr/>
          </p:nvSpPr>
          <p:spPr>
            <a:xfrm rot="5400000" flipH="1" flipV="1">
              <a:off x="2595168" y="6066853"/>
              <a:ext cx="208251" cy="208251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59879A8F-9B0B-429A-B7AF-4FA5AA18072B}"/>
                </a:ext>
              </a:extLst>
            </p:cNvPr>
            <p:cNvSpPr/>
            <p:nvPr/>
          </p:nvSpPr>
          <p:spPr>
            <a:xfrm rot="5400000" flipH="1" flipV="1">
              <a:off x="2174376" y="6724870"/>
              <a:ext cx="208251" cy="208251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18FF744A-5961-409B-B7D5-3EB4A74FD074}"/>
                </a:ext>
              </a:extLst>
            </p:cNvPr>
            <p:cNvSpPr/>
            <p:nvPr/>
          </p:nvSpPr>
          <p:spPr>
            <a:xfrm rot="5400000" flipH="1" flipV="1">
              <a:off x="3396381" y="5689404"/>
              <a:ext cx="208251" cy="208251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4D5F6DE5-0443-43AA-A2BA-6BC8DBC852B8}"/>
                </a:ext>
              </a:extLst>
            </p:cNvPr>
            <p:cNvSpPr/>
            <p:nvPr/>
          </p:nvSpPr>
          <p:spPr>
            <a:xfrm rot="5400000" flipH="1" flipV="1">
              <a:off x="3129583" y="5217537"/>
              <a:ext cx="266798" cy="266798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0A34C30B-BB46-43FD-9603-DAF9A2A9382B}"/>
                </a:ext>
              </a:extLst>
            </p:cNvPr>
            <p:cNvSpPr/>
            <p:nvPr/>
          </p:nvSpPr>
          <p:spPr>
            <a:xfrm rot="5400000" flipH="1" flipV="1">
              <a:off x="3664917" y="5289207"/>
              <a:ext cx="266798" cy="266798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A33854B1-36DF-436A-8DDE-60ABD9BFCC8A}"/>
                </a:ext>
              </a:extLst>
            </p:cNvPr>
            <p:cNvSpPr/>
            <p:nvPr/>
          </p:nvSpPr>
          <p:spPr>
            <a:xfrm rot="5400000" flipH="1" flipV="1">
              <a:off x="4193135" y="5827289"/>
              <a:ext cx="266798" cy="266798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A124923B-9323-48C0-8B7B-902B53D94789}"/>
                </a:ext>
              </a:extLst>
            </p:cNvPr>
            <p:cNvSpPr/>
            <p:nvPr/>
          </p:nvSpPr>
          <p:spPr>
            <a:xfrm rot="5400000" flipH="1" flipV="1">
              <a:off x="3883681" y="5696661"/>
              <a:ext cx="208251" cy="208251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2CE938C9-01B2-4B1F-86DE-844F3AE0DFD0}"/>
                </a:ext>
              </a:extLst>
            </p:cNvPr>
            <p:cNvSpPr/>
            <p:nvPr/>
          </p:nvSpPr>
          <p:spPr>
            <a:xfrm rot="5400000" flipH="1" flipV="1">
              <a:off x="4479087" y="6227036"/>
              <a:ext cx="266798" cy="266798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7D86E606-8618-4BF3-A8EE-BBA08DD95B91}"/>
                </a:ext>
              </a:extLst>
            </p:cNvPr>
            <p:cNvSpPr/>
            <p:nvPr/>
          </p:nvSpPr>
          <p:spPr>
            <a:xfrm rot="5400000">
              <a:off x="9196600" y="5265317"/>
              <a:ext cx="573073" cy="573074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94D8A510-1E7D-4DC3-8D2F-BD2AE0B001CD}"/>
                </a:ext>
              </a:extLst>
            </p:cNvPr>
            <p:cNvSpPr/>
            <p:nvPr/>
          </p:nvSpPr>
          <p:spPr>
            <a:xfrm rot="5400000">
              <a:off x="8773199" y="6504006"/>
              <a:ext cx="573073" cy="573074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D9444038-E444-434F-8912-490C7A51460E}"/>
                </a:ext>
              </a:extLst>
            </p:cNvPr>
            <p:cNvSpPr/>
            <p:nvPr/>
          </p:nvSpPr>
          <p:spPr>
            <a:xfrm rot="5400000">
              <a:off x="8695107" y="5611386"/>
              <a:ext cx="317447" cy="317447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EAFEF156-6B30-4935-B98E-16E64F856BCD}"/>
                </a:ext>
              </a:extLst>
            </p:cNvPr>
            <p:cNvSpPr/>
            <p:nvPr/>
          </p:nvSpPr>
          <p:spPr>
            <a:xfrm rot="5400000">
              <a:off x="8418109" y="5289207"/>
              <a:ext cx="266799" cy="266799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7877F216-D2C5-47FB-AEEC-65FE66BF6ECE}"/>
                </a:ext>
              </a:extLst>
            </p:cNvPr>
            <p:cNvSpPr/>
            <p:nvPr/>
          </p:nvSpPr>
          <p:spPr>
            <a:xfrm rot="5400000">
              <a:off x="8047198" y="5747843"/>
              <a:ext cx="266799" cy="266799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789DD216-2772-4845-BDC8-9992C8FA979D}"/>
                </a:ext>
              </a:extLst>
            </p:cNvPr>
            <p:cNvSpPr/>
            <p:nvPr/>
          </p:nvSpPr>
          <p:spPr>
            <a:xfrm rot="5400000">
              <a:off x="7457492" y="6208708"/>
              <a:ext cx="266799" cy="266799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E2AB03D-4BD8-4CDC-8677-66460713CAED}"/>
                </a:ext>
              </a:extLst>
            </p:cNvPr>
            <p:cNvSpPr/>
            <p:nvPr/>
          </p:nvSpPr>
          <p:spPr>
            <a:xfrm rot="5400000">
              <a:off x="8357264" y="6000914"/>
              <a:ext cx="266799" cy="266799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94E88FB1-6DB0-4909-82BC-1174BE80B2CA}"/>
                </a:ext>
              </a:extLst>
            </p:cNvPr>
            <p:cNvSpPr/>
            <p:nvPr/>
          </p:nvSpPr>
          <p:spPr>
            <a:xfrm rot="5400000">
              <a:off x="7457493" y="6628761"/>
              <a:ext cx="266799" cy="266799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DDD7A096-4D8C-40EE-AF23-3A6047B7044F}"/>
                </a:ext>
              </a:extLst>
            </p:cNvPr>
            <p:cNvSpPr/>
            <p:nvPr/>
          </p:nvSpPr>
          <p:spPr>
            <a:xfrm rot="5400000">
              <a:off x="6919723" y="6009408"/>
              <a:ext cx="208251" cy="208251"/>
            </a:xfrm>
            <a:prstGeom prst="ellipse">
              <a:avLst/>
            </a:prstGeom>
            <a:solidFill>
              <a:srgbClr val="4FC5B7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E0ABD10C-4CD0-4DDA-BF2F-F2FBBC11FE2D}"/>
                </a:ext>
              </a:extLst>
            </p:cNvPr>
            <p:cNvSpPr/>
            <p:nvPr/>
          </p:nvSpPr>
          <p:spPr>
            <a:xfrm rot="5400000">
              <a:off x="7902227" y="6297716"/>
              <a:ext cx="208251" cy="208251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CA40383-C22E-481C-8F62-6545B7749BEA}"/>
                </a:ext>
              </a:extLst>
            </p:cNvPr>
            <p:cNvSpPr/>
            <p:nvPr/>
          </p:nvSpPr>
          <p:spPr>
            <a:xfrm rot="5400000">
              <a:off x="5121856" y="5809564"/>
              <a:ext cx="208251" cy="208251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BE1D544A-910B-42D3-BBD4-1502A77749F8}"/>
                </a:ext>
              </a:extLst>
            </p:cNvPr>
            <p:cNvSpPr/>
            <p:nvPr/>
          </p:nvSpPr>
          <p:spPr>
            <a:xfrm rot="5400000">
              <a:off x="6417149" y="6245868"/>
              <a:ext cx="208251" cy="208251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0145B0B2-8F2B-4C41-846E-03096C4738F0}"/>
                </a:ext>
              </a:extLst>
            </p:cNvPr>
            <p:cNvSpPr/>
            <p:nvPr/>
          </p:nvSpPr>
          <p:spPr>
            <a:xfrm rot="5400000">
              <a:off x="5972320" y="6035318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AF31EC54-0732-48CC-82AB-72DD2F129004}"/>
                </a:ext>
              </a:extLst>
            </p:cNvPr>
            <p:cNvSpPr/>
            <p:nvPr/>
          </p:nvSpPr>
          <p:spPr>
            <a:xfrm rot="5400000">
              <a:off x="6962076" y="6419278"/>
              <a:ext cx="266799" cy="266799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51354DAF-DB82-4CA4-9229-F6F27F4F8BF2}"/>
                </a:ext>
              </a:extLst>
            </p:cNvPr>
            <p:cNvSpPr/>
            <p:nvPr/>
          </p:nvSpPr>
          <p:spPr>
            <a:xfrm rot="5400000">
              <a:off x="5334895" y="6134313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6385F8D1-B721-4051-A80D-4A62DEF020C5}"/>
                </a:ext>
              </a:extLst>
            </p:cNvPr>
            <p:cNvSpPr/>
            <p:nvPr/>
          </p:nvSpPr>
          <p:spPr>
            <a:xfrm rot="5400000">
              <a:off x="5609156" y="5625956"/>
              <a:ext cx="266799" cy="266799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</p:grpSp>
      <p:pic>
        <p:nvPicPr>
          <p:cNvPr id="77" name="Picture 76">
            <a:extLst>
              <a:ext uri="{FF2B5EF4-FFF2-40B4-BE49-F238E27FC236}">
                <a16:creationId xmlns:a16="http://schemas.microsoft.com/office/drawing/2014/main" id="{6DACC151-56EB-4B12-82D3-6584BE7E008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963" y="390602"/>
            <a:ext cx="2930844" cy="103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07190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70ED286-A556-48C4-BB04-5DAA5D355F7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7657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70ED286-A556-48C4-BB04-5DAA5D355F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1" name="Picture Placeholder 670">
            <a:extLst>
              <a:ext uri="{FF2B5EF4-FFF2-40B4-BE49-F238E27FC236}">
                <a16:creationId xmlns:a16="http://schemas.microsoft.com/office/drawing/2014/main" id="{723DC1A0-731D-41E8-952E-1ECEFBAC914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" y="13"/>
            <a:ext cx="9601186" cy="6857989"/>
          </a:xfrm>
          <a:custGeom>
            <a:avLst/>
            <a:gdLst>
              <a:gd name="connsiteX0" fmla="*/ 779488 w 9601186"/>
              <a:gd name="connsiteY0" fmla="*/ 1341435 h 6857989"/>
              <a:gd name="connsiteX1" fmla="*/ 738183 w 9601186"/>
              <a:gd name="connsiteY1" fmla="*/ 1384269 h 6857989"/>
              <a:gd name="connsiteX2" fmla="*/ 779488 w 9601186"/>
              <a:gd name="connsiteY2" fmla="*/ 1425573 h 6857989"/>
              <a:gd name="connsiteX3" fmla="*/ 820792 w 9601186"/>
              <a:gd name="connsiteY3" fmla="*/ 1382740 h 6857989"/>
              <a:gd name="connsiteX4" fmla="*/ 779488 w 9601186"/>
              <a:gd name="connsiteY4" fmla="*/ 1341435 h 6857989"/>
              <a:gd name="connsiteX5" fmla="*/ 1159691 w 9601186"/>
              <a:gd name="connsiteY5" fmla="*/ 1336130 h 6857989"/>
              <a:gd name="connsiteX6" fmla="*/ 1129767 w 9601186"/>
              <a:gd name="connsiteY6" fmla="*/ 1348790 h 6857989"/>
              <a:gd name="connsiteX7" fmla="*/ 1131301 w 9601186"/>
              <a:gd name="connsiteY7" fmla="*/ 1408640 h 6857989"/>
              <a:gd name="connsiteX8" fmla="*/ 1189615 w 9601186"/>
              <a:gd name="connsiteY8" fmla="*/ 1407105 h 6857989"/>
              <a:gd name="connsiteX9" fmla="*/ 1189615 w 9601186"/>
              <a:gd name="connsiteY9" fmla="*/ 1348790 h 6857989"/>
              <a:gd name="connsiteX10" fmla="*/ 1159691 w 9601186"/>
              <a:gd name="connsiteY10" fmla="*/ 1336130 h 6857989"/>
              <a:gd name="connsiteX11" fmla="*/ 954651 w 9601186"/>
              <a:gd name="connsiteY11" fmla="*/ 1310972 h 6857989"/>
              <a:gd name="connsiteX12" fmla="*/ 936320 w 9601186"/>
              <a:gd name="connsiteY12" fmla="*/ 1358328 h 6857989"/>
              <a:gd name="connsiteX13" fmla="*/ 983676 w 9601186"/>
              <a:gd name="connsiteY13" fmla="*/ 1376659 h 6857989"/>
              <a:gd name="connsiteX14" fmla="*/ 1002007 w 9601186"/>
              <a:gd name="connsiteY14" fmla="*/ 1329303 h 6857989"/>
              <a:gd name="connsiteX15" fmla="*/ 982339 w 9601186"/>
              <a:gd name="connsiteY15" fmla="*/ 1310972 h 6857989"/>
              <a:gd name="connsiteX16" fmla="*/ 954651 w 9601186"/>
              <a:gd name="connsiteY16" fmla="*/ 1310972 h 6857989"/>
              <a:gd name="connsiteX17" fmla="*/ 907796 w 9601186"/>
              <a:gd name="connsiteY17" fmla="*/ 1219076 h 6857989"/>
              <a:gd name="connsiteX18" fmla="*/ 866648 w 9601186"/>
              <a:gd name="connsiteY18" fmla="*/ 1248055 h 6857989"/>
              <a:gd name="connsiteX19" fmla="*/ 895604 w 9601186"/>
              <a:gd name="connsiteY19" fmla="*/ 1289236 h 6857989"/>
              <a:gd name="connsiteX20" fmla="*/ 936752 w 9601186"/>
              <a:gd name="connsiteY20" fmla="*/ 1261781 h 6857989"/>
              <a:gd name="connsiteX21" fmla="*/ 907796 w 9601186"/>
              <a:gd name="connsiteY21" fmla="*/ 1219076 h 6857989"/>
              <a:gd name="connsiteX22" fmla="*/ 1027390 w 9601186"/>
              <a:gd name="connsiteY22" fmla="*/ 1217487 h 6857989"/>
              <a:gd name="connsiteX23" fmla="*/ 999935 w 9601186"/>
              <a:gd name="connsiteY23" fmla="*/ 1260193 h 6857989"/>
              <a:gd name="connsiteX24" fmla="*/ 1041117 w 9601186"/>
              <a:gd name="connsiteY24" fmla="*/ 1287648 h 6857989"/>
              <a:gd name="connsiteX25" fmla="*/ 1068572 w 9601186"/>
              <a:gd name="connsiteY25" fmla="*/ 1244941 h 6857989"/>
              <a:gd name="connsiteX26" fmla="*/ 1027390 w 9601186"/>
              <a:gd name="connsiteY26" fmla="*/ 1217487 h 6857989"/>
              <a:gd name="connsiteX27" fmla="*/ 682112 w 9601186"/>
              <a:gd name="connsiteY27" fmla="*/ 1190377 h 6857989"/>
              <a:gd name="connsiteX28" fmla="*/ 636283 w 9601186"/>
              <a:gd name="connsiteY28" fmla="*/ 1210221 h 6857989"/>
              <a:gd name="connsiteX29" fmla="*/ 656142 w 9601186"/>
              <a:gd name="connsiteY29" fmla="*/ 1256014 h 6857989"/>
              <a:gd name="connsiteX30" fmla="*/ 701970 w 9601186"/>
              <a:gd name="connsiteY30" fmla="*/ 1237697 h 6857989"/>
              <a:gd name="connsiteX31" fmla="*/ 682112 w 9601186"/>
              <a:gd name="connsiteY31" fmla="*/ 1190377 h 6857989"/>
              <a:gd name="connsiteX32" fmla="*/ 1277424 w 9601186"/>
              <a:gd name="connsiteY32" fmla="*/ 1183973 h 6857989"/>
              <a:gd name="connsiteX33" fmla="*/ 1231595 w 9601186"/>
              <a:gd name="connsiteY33" fmla="*/ 1203832 h 6857989"/>
              <a:gd name="connsiteX34" fmla="*/ 1251455 w 9601186"/>
              <a:gd name="connsiteY34" fmla="*/ 1249659 h 6857989"/>
              <a:gd name="connsiteX35" fmla="*/ 1297283 w 9601186"/>
              <a:gd name="connsiteY35" fmla="*/ 1229801 h 6857989"/>
              <a:gd name="connsiteX36" fmla="*/ 1277424 w 9601186"/>
              <a:gd name="connsiteY36" fmla="*/ 1183973 h 6857989"/>
              <a:gd name="connsiteX37" fmla="*/ 771792 w 9601186"/>
              <a:gd name="connsiteY37" fmla="*/ 1170952 h 6857989"/>
              <a:gd name="connsiteX38" fmla="*/ 748878 w 9601186"/>
              <a:gd name="connsiteY38" fmla="*/ 1186610 h 6857989"/>
              <a:gd name="connsiteX39" fmla="*/ 759571 w 9601186"/>
              <a:gd name="connsiteY39" fmla="*/ 1235493 h 6857989"/>
              <a:gd name="connsiteX40" fmla="*/ 808454 w 9601186"/>
              <a:gd name="connsiteY40" fmla="*/ 1224800 h 6857989"/>
              <a:gd name="connsiteX41" fmla="*/ 799289 w 9601186"/>
              <a:gd name="connsiteY41" fmla="*/ 1175917 h 6857989"/>
              <a:gd name="connsiteX42" fmla="*/ 771792 w 9601186"/>
              <a:gd name="connsiteY42" fmla="*/ 1170952 h 6857989"/>
              <a:gd name="connsiteX43" fmla="*/ 1161972 w 9601186"/>
              <a:gd name="connsiteY43" fmla="*/ 1165427 h 6857989"/>
              <a:gd name="connsiteX44" fmla="*/ 1135811 w 9601186"/>
              <a:gd name="connsiteY44" fmla="*/ 1171156 h 6857989"/>
              <a:gd name="connsiteX45" fmla="*/ 1126645 w 9601186"/>
              <a:gd name="connsiteY45" fmla="*/ 1220039 h 6857989"/>
              <a:gd name="connsiteX46" fmla="*/ 1175528 w 9601186"/>
              <a:gd name="connsiteY46" fmla="*/ 1229205 h 6857989"/>
              <a:gd name="connsiteX47" fmla="*/ 1184694 w 9601186"/>
              <a:gd name="connsiteY47" fmla="*/ 1180321 h 6857989"/>
              <a:gd name="connsiteX48" fmla="*/ 1161972 w 9601186"/>
              <a:gd name="connsiteY48" fmla="*/ 1165427 h 6857989"/>
              <a:gd name="connsiteX49" fmla="*/ 880558 w 9601186"/>
              <a:gd name="connsiteY49" fmla="*/ 1141110 h 6857989"/>
              <a:gd name="connsiteX50" fmla="*/ 844316 w 9601186"/>
              <a:gd name="connsiteY50" fmla="*/ 1156229 h 6857989"/>
              <a:gd name="connsiteX51" fmla="*/ 859417 w 9601186"/>
              <a:gd name="connsiteY51" fmla="*/ 1192515 h 6857989"/>
              <a:gd name="connsiteX52" fmla="*/ 895658 w 9601186"/>
              <a:gd name="connsiteY52" fmla="*/ 1177396 h 6857989"/>
              <a:gd name="connsiteX53" fmla="*/ 880558 w 9601186"/>
              <a:gd name="connsiteY53" fmla="*/ 1141110 h 6857989"/>
              <a:gd name="connsiteX54" fmla="*/ 1060978 w 9601186"/>
              <a:gd name="connsiteY54" fmla="*/ 1137934 h 6857989"/>
              <a:gd name="connsiteX55" fmla="*/ 1045858 w 9601186"/>
              <a:gd name="connsiteY55" fmla="*/ 1174220 h 6857989"/>
              <a:gd name="connsiteX56" fmla="*/ 1082144 w 9601186"/>
              <a:gd name="connsiteY56" fmla="*/ 1189340 h 6857989"/>
              <a:gd name="connsiteX57" fmla="*/ 1097262 w 9601186"/>
              <a:gd name="connsiteY57" fmla="*/ 1153053 h 6857989"/>
              <a:gd name="connsiteX58" fmla="*/ 1060978 w 9601186"/>
              <a:gd name="connsiteY58" fmla="*/ 1137934 h 6857989"/>
              <a:gd name="connsiteX59" fmla="*/ 980025 w 9601186"/>
              <a:gd name="connsiteY59" fmla="*/ 1133358 h 6857989"/>
              <a:gd name="connsiteX60" fmla="*/ 955501 w 9601186"/>
              <a:gd name="connsiteY60" fmla="*/ 1145620 h 6857989"/>
              <a:gd name="connsiteX61" fmla="*/ 966230 w 9601186"/>
              <a:gd name="connsiteY61" fmla="*/ 1170144 h 6857989"/>
              <a:gd name="connsiteX62" fmla="*/ 992287 w 9601186"/>
              <a:gd name="connsiteY62" fmla="*/ 1159415 h 6857989"/>
              <a:gd name="connsiteX63" fmla="*/ 980025 w 9601186"/>
              <a:gd name="connsiteY63" fmla="*/ 1133358 h 6857989"/>
              <a:gd name="connsiteX64" fmla="*/ 895563 w 9601186"/>
              <a:gd name="connsiteY64" fmla="*/ 1087363 h 6857989"/>
              <a:gd name="connsiteX65" fmla="*/ 883963 w 9601186"/>
              <a:gd name="connsiteY65" fmla="*/ 1091927 h 6857989"/>
              <a:gd name="connsiteX66" fmla="*/ 885484 w 9601186"/>
              <a:gd name="connsiteY66" fmla="*/ 1116270 h 6857989"/>
              <a:gd name="connsiteX67" fmla="*/ 908305 w 9601186"/>
              <a:gd name="connsiteY67" fmla="*/ 1114748 h 6857989"/>
              <a:gd name="connsiteX68" fmla="*/ 908305 w 9601186"/>
              <a:gd name="connsiteY68" fmla="*/ 1091927 h 6857989"/>
              <a:gd name="connsiteX69" fmla="*/ 895563 w 9601186"/>
              <a:gd name="connsiteY69" fmla="*/ 1087363 h 6857989"/>
              <a:gd name="connsiteX70" fmla="*/ 1047018 w 9601186"/>
              <a:gd name="connsiteY70" fmla="*/ 1082667 h 6857989"/>
              <a:gd name="connsiteX71" fmla="*/ 1031865 w 9601186"/>
              <a:gd name="connsiteY71" fmla="*/ 1099335 h 6857989"/>
              <a:gd name="connsiteX72" fmla="*/ 1048533 w 9601186"/>
              <a:gd name="connsiteY72" fmla="*/ 1116005 h 6857989"/>
              <a:gd name="connsiteX73" fmla="*/ 1065203 w 9601186"/>
              <a:gd name="connsiteY73" fmla="*/ 1097820 h 6857989"/>
              <a:gd name="connsiteX74" fmla="*/ 1047018 w 9601186"/>
              <a:gd name="connsiteY74" fmla="*/ 1082667 h 6857989"/>
              <a:gd name="connsiteX75" fmla="*/ 692071 w 9601186"/>
              <a:gd name="connsiteY75" fmla="*/ 1078114 h 6857989"/>
              <a:gd name="connsiteX76" fmla="*/ 665911 w 9601186"/>
              <a:gd name="connsiteY76" fmla="*/ 1083843 h 6857989"/>
              <a:gd name="connsiteX77" fmla="*/ 656746 w 9601186"/>
              <a:gd name="connsiteY77" fmla="*/ 1132726 h 6857989"/>
              <a:gd name="connsiteX78" fmla="*/ 705629 w 9601186"/>
              <a:gd name="connsiteY78" fmla="*/ 1141892 h 6857989"/>
              <a:gd name="connsiteX79" fmla="*/ 714794 w 9601186"/>
              <a:gd name="connsiteY79" fmla="*/ 1093008 h 6857989"/>
              <a:gd name="connsiteX80" fmla="*/ 692071 w 9601186"/>
              <a:gd name="connsiteY80" fmla="*/ 1078114 h 6857989"/>
              <a:gd name="connsiteX81" fmla="*/ 507229 w 9601186"/>
              <a:gd name="connsiteY81" fmla="*/ 1075588 h 6857989"/>
              <a:gd name="connsiteX82" fmla="*/ 477305 w 9601186"/>
              <a:gd name="connsiteY82" fmla="*/ 1088441 h 6857989"/>
              <a:gd name="connsiteX83" fmla="*/ 478839 w 9601186"/>
              <a:gd name="connsiteY83" fmla="*/ 1146755 h 6857989"/>
              <a:gd name="connsiteX84" fmla="*/ 538688 w 9601186"/>
              <a:gd name="connsiteY84" fmla="*/ 1146755 h 6857989"/>
              <a:gd name="connsiteX85" fmla="*/ 537153 w 9601186"/>
              <a:gd name="connsiteY85" fmla="*/ 1086906 h 6857989"/>
              <a:gd name="connsiteX86" fmla="*/ 507229 w 9601186"/>
              <a:gd name="connsiteY86" fmla="*/ 1075588 h 6857989"/>
              <a:gd name="connsiteX87" fmla="*/ 1240928 w 9601186"/>
              <a:gd name="connsiteY87" fmla="*/ 1070939 h 6857989"/>
              <a:gd name="connsiteX88" fmla="*/ 1218777 w 9601186"/>
              <a:gd name="connsiteY88" fmla="*/ 1086597 h 6857989"/>
              <a:gd name="connsiteX89" fmla="*/ 1227943 w 9601186"/>
              <a:gd name="connsiteY89" fmla="*/ 1135481 h 6857989"/>
              <a:gd name="connsiteX90" fmla="*/ 1278354 w 9601186"/>
              <a:gd name="connsiteY90" fmla="*/ 1124787 h 6857989"/>
              <a:gd name="connsiteX91" fmla="*/ 1267661 w 9601186"/>
              <a:gd name="connsiteY91" fmla="*/ 1075904 h 6857989"/>
              <a:gd name="connsiteX92" fmla="*/ 1240928 w 9601186"/>
              <a:gd name="connsiteY92" fmla="*/ 1070939 h 6857989"/>
              <a:gd name="connsiteX93" fmla="*/ 812745 w 9601186"/>
              <a:gd name="connsiteY93" fmla="*/ 1069229 h 6857989"/>
              <a:gd name="connsiteX94" fmla="*/ 797974 w 9601186"/>
              <a:gd name="connsiteY94" fmla="*/ 1069804 h 6857989"/>
              <a:gd name="connsiteX95" fmla="*/ 787232 w 9601186"/>
              <a:gd name="connsiteY95" fmla="*/ 1095861 h 6857989"/>
              <a:gd name="connsiteX96" fmla="*/ 813320 w 9601186"/>
              <a:gd name="connsiteY96" fmla="*/ 1105058 h 6857989"/>
              <a:gd name="connsiteX97" fmla="*/ 824062 w 9601186"/>
              <a:gd name="connsiteY97" fmla="*/ 1079001 h 6857989"/>
              <a:gd name="connsiteX98" fmla="*/ 812745 w 9601186"/>
              <a:gd name="connsiteY98" fmla="*/ 1069229 h 6857989"/>
              <a:gd name="connsiteX99" fmla="*/ 1424014 w 9601186"/>
              <a:gd name="connsiteY99" fmla="*/ 1063622 h 6857989"/>
              <a:gd name="connsiteX100" fmla="*/ 1382709 w 9601186"/>
              <a:gd name="connsiteY100" fmla="*/ 1104927 h 6857989"/>
              <a:gd name="connsiteX101" fmla="*/ 1425544 w 9601186"/>
              <a:gd name="connsiteY101" fmla="*/ 1146231 h 6857989"/>
              <a:gd name="connsiteX102" fmla="*/ 1465318 w 9601186"/>
              <a:gd name="connsiteY102" fmla="*/ 1104927 h 6857989"/>
              <a:gd name="connsiteX103" fmla="*/ 1424014 w 9601186"/>
              <a:gd name="connsiteY103" fmla="*/ 1063622 h 6857989"/>
              <a:gd name="connsiteX104" fmla="*/ 1144114 w 9601186"/>
              <a:gd name="connsiteY104" fmla="*/ 1061291 h 6857989"/>
              <a:gd name="connsiteX105" fmla="*/ 1128211 w 9601186"/>
              <a:gd name="connsiteY105" fmla="*/ 1061866 h 6857989"/>
              <a:gd name="connsiteX106" fmla="*/ 1119014 w 9601186"/>
              <a:gd name="connsiteY106" fmla="*/ 1087923 h 6857989"/>
              <a:gd name="connsiteX107" fmla="*/ 1145072 w 9601186"/>
              <a:gd name="connsiteY107" fmla="*/ 1097119 h 6857989"/>
              <a:gd name="connsiteX108" fmla="*/ 1154268 w 9601186"/>
              <a:gd name="connsiteY108" fmla="*/ 1071062 h 6857989"/>
              <a:gd name="connsiteX109" fmla="*/ 1144114 w 9601186"/>
              <a:gd name="connsiteY109" fmla="*/ 1061291 h 6857989"/>
              <a:gd name="connsiteX110" fmla="*/ 943630 w 9601186"/>
              <a:gd name="connsiteY110" fmla="*/ 1058791 h 6857989"/>
              <a:gd name="connsiteX111" fmla="*/ 923852 w 9601186"/>
              <a:gd name="connsiteY111" fmla="*/ 1072484 h 6857989"/>
              <a:gd name="connsiteX112" fmla="*/ 937544 w 9601186"/>
              <a:gd name="connsiteY112" fmla="*/ 1092261 h 6857989"/>
              <a:gd name="connsiteX113" fmla="*/ 957322 w 9601186"/>
              <a:gd name="connsiteY113" fmla="*/ 1078569 h 6857989"/>
              <a:gd name="connsiteX114" fmla="*/ 943630 w 9601186"/>
              <a:gd name="connsiteY114" fmla="*/ 1058791 h 6857989"/>
              <a:gd name="connsiteX115" fmla="*/ 997894 w 9601186"/>
              <a:gd name="connsiteY115" fmla="*/ 1057203 h 6857989"/>
              <a:gd name="connsiteX116" fmla="*/ 985702 w 9601186"/>
              <a:gd name="connsiteY116" fmla="*/ 1076981 h 6857989"/>
              <a:gd name="connsiteX117" fmla="*/ 1005514 w 9601186"/>
              <a:gd name="connsiteY117" fmla="*/ 1090673 h 6857989"/>
              <a:gd name="connsiteX118" fmla="*/ 1017706 w 9601186"/>
              <a:gd name="connsiteY118" fmla="*/ 1069374 h 6857989"/>
              <a:gd name="connsiteX119" fmla="*/ 997894 w 9601186"/>
              <a:gd name="connsiteY119" fmla="*/ 1057203 h 6857989"/>
              <a:gd name="connsiteX120" fmla="*/ 877625 w 9601186"/>
              <a:gd name="connsiteY120" fmla="*/ 1035932 h 6857989"/>
              <a:gd name="connsiteX121" fmla="*/ 866576 w 9601186"/>
              <a:gd name="connsiteY121" fmla="*/ 1044124 h 6857989"/>
              <a:gd name="connsiteX122" fmla="*/ 872672 w 9601186"/>
              <a:gd name="connsiteY122" fmla="*/ 1066984 h 6857989"/>
              <a:gd name="connsiteX123" fmla="*/ 895532 w 9601186"/>
              <a:gd name="connsiteY123" fmla="*/ 1060888 h 6857989"/>
              <a:gd name="connsiteX124" fmla="*/ 890960 w 9601186"/>
              <a:gd name="connsiteY124" fmla="*/ 1038028 h 6857989"/>
              <a:gd name="connsiteX125" fmla="*/ 877625 w 9601186"/>
              <a:gd name="connsiteY125" fmla="*/ 1035932 h 6857989"/>
              <a:gd name="connsiteX126" fmla="*/ 1061714 w 9601186"/>
              <a:gd name="connsiteY126" fmla="*/ 1030981 h 6857989"/>
              <a:gd name="connsiteX127" fmla="*/ 1048950 w 9601186"/>
              <a:gd name="connsiteY127" fmla="*/ 1033267 h 6857989"/>
              <a:gd name="connsiteX128" fmla="*/ 1045902 w 9601186"/>
              <a:gd name="connsiteY128" fmla="*/ 1057651 h 6857989"/>
              <a:gd name="connsiteX129" fmla="*/ 1068762 w 9601186"/>
              <a:gd name="connsiteY129" fmla="*/ 1060699 h 6857989"/>
              <a:gd name="connsiteX130" fmla="*/ 1073335 w 9601186"/>
              <a:gd name="connsiteY130" fmla="*/ 1037839 h 6857989"/>
              <a:gd name="connsiteX131" fmla="*/ 1061714 w 9601186"/>
              <a:gd name="connsiteY131" fmla="*/ 1030981 h 6857989"/>
              <a:gd name="connsiteX132" fmla="*/ 967621 w 9601186"/>
              <a:gd name="connsiteY132" fmla="*/ 1028693 h 6857989"/>
              <a:gd name="connsiteX133" fmla="*/ 955668 w 9601186"/>
              <a:gd name="connsiteY133" fmla="*/ 1042981 h 6857989"/>
              <a:gd name="connsiteX134" fmla="*/ 969115 w 9601186"/>
              <a:gd name="connsiteY134" fmla="*/ 1055682 h 6857989"/>
              <a:gd name="connsiteX135" fmla="*/ 981068 w 9601186"/>
              <a:gd name="connsiteY135" fmla="*/ 1042981 h 6857989"/>
              <a:gd name="connsiteX136" fmla="*/ 967621 w 9601186"/>
              <a:gd name="connsiteY136" fmla="*/ 1028693 h 6857989"/>
              <a:gd name="connsiteX137" fmla="*/ 2905436 w 9601186"/>
              <a:gd name="connsiteY137" fmla="*/ 1027386 h 6857989"/>
              <a:gd name="connsiteX138" fmla="*/ 2934772 w 9601186"/>
              <a:gd name="connsiteY138" fmla="*/ 1039405 h 6857989"/>
              <a:gd name="connsiteX139" fmla="*/ 2950082 w 9601186"/>
              <a:gd name="connsiteY139" fmla="*/ 1066591 h 6857989"/>
              <a:gd name="connsiteX140" fmla="*/ 2954490 w 9601186"/>
              <a:gd name="connsiteY140" fmla="*/ 1098731 h 6857989"/>
              <a:gd name="connsiteX141" fmla="*/ 2953118 w 9601186"/>
              <a:gd name="connsiteY141" fmla="*/ 1123256 h 6857989"/>
              <a:gd name="connsiteX142" fmla="*/ 2945571 w 9601186"/>
              <a:gd name="connsiteY142" fmla="*/ 1146751 h 6857989"/>
              <a:gd name="connsiteX143" fmla="*/ 2927905 w 9601186"/>
              <a:gd name="connsiteY143" fmla="*/ 1165359 h 6857989"/>
              <a:gd name="connsiteX144" fmla="*/ 2903034 w 9601186"/>
              <a:gd name="connsiteY144" fmla="*/ 1172133 h 6857989"/>
              <a:gd name="connsiteX145" fmla="*/ 2871346 w 9601186"/>
              <a:gd name="connsiteY145" fmla="*/ 1160214 h 6857989"/>
              <a:gd name="connsiteX146" fmla="*/ 2854322 w 9601186"/>
              <a:gd name="connsiteY146" fmla="*/ 1130287 h 6857989"/>
              <a:gd name="connsiteX147" fmla="*/ 2851278 w 9601186"/>
              <a:gd name="connsiteY147" fmla="*/ 1113051 h 6857989"/>
              <a:gd name="connsiteX148" fmla="*/ 2850549 w 9601186"/>
              <a:gd name="connsiteY148" fmla="*/ 1095301 h 6857989"/>
              <a:gd name="connsiteX149" fmla="*/ 2853465 w 9601186"/>
              <a:gd name="connsiteY149" fmla="*/ 1071934 h 6857989"/>
              <a:gd name="connsiteX150" fmla="*/ 2862555 w 9601186"/>
              <a:gd name="connsiteY150" fmla="*/ 1050368 h 6857989"/>
              <a:gd name="connsiteX151" fmla="*/ 2880779 w 9601186"/>
              <a:gd name="connsiteY151" fmla="*/ 1032831 h 6857989"/>
              <a:gd name="connsiteX152" fmla="*/ 2905436 w 9601186"/>
              <a:gd name="connsiteY152" fmla="*/ 1027386 h 6857989"/>
              <a:gd name="connsiteX153" fmla="*/ 1830964 w 9601186"/>
              <a:gd name="connsiteY153" fmla="*/ 1027385 h 6857989"/>
              <a:gd name="connsiteX154" fmla="*/ 1862956 w 9601186"/>
              <a:gd name="connsiteY154" fmla="*/ 1038235 h 6857989"/>
              <a:gd name="connsiteX155" fmla="*/ 1879244 w 9601186"/>
              <a:gd name="connsiteY155" fmla="*/ 1064786 h 6857989"/>
              <a:gd name="connsiteX156" fmla="*/ 1883792 w 9601186"/>
              <a:gd name="connsiteY156" fmla="*/ 1098044 h 6857989"/>
              <a:gd name="connsiteX157" fmla="*/ 1881648 w 9601186"/>
              <a:gd name="connsiteY157" fmla="*/ 1122183 h 6857989"/>
              <a:gd name="connsiteX158" fmla="*/ 1873844 w 9601186"/>
              <a:gd name="connsiteY158" fmla="*/ 1145036 h 6857989"/>
              <a:gd name="connsiteX159" fmla="*/ 1856006 w 9601186"/>
              <a:gd name="connsiteY159" fmla="*/ 1164244 h 6857989"/>
              <a:gd name="connsiteX160" fmla="*/ 1830964 w 9601186"/>
              <a:gd name="connsiteY160" fmla="*/ 1172132 h 6857989"/>
              <a:gd name="connsiteX161" fmla="*/ 1807252 w 9601186"/>
              <a:gd name="connsiteY161" fmla="*/ 1165787 h 6857989"/>
              <a:gd name="connsiteX162" fmla="*/ 1789457 w 9601186"/>
              <a:gd name="connsiteY162" fmla="*/ 1149151 h 6857989"/>
              <a:gd name="connsiteX163" fmla="*/ 1779423 w 9601186"/>
              <a:gd name="connsiteY163" fmla="*/ 1125142 h 6857989"/>
              <a:gd name="connsiteX164" fmla="*/ 1777107 w 9601186"/>
              <a:gd name="connsiteY164" fmla="*/ 1099074 h 6857989"/>
              <a:gd name="connsiteX165" fmla="*/ 1779251 w 9601186"/>
              <a:gd name="connsiteY165" fmla="*/ 1075406 h 6857989"/>
              <a:gd name="connsiteX166" fmla="*/ 1787055 w 9601186"/>
              <a:gd name="connsiteY166" fmla="*/ 1052768 h 6857989"/>
              <a:gd name="connsiteX167" fmla="*/ 1805408 w 9601186"/>
              <a:gd name="connsiteY167" fmla="*/ 1034160 h 6857989"/>
              <a:gd name="connsiteX168" fmla="*/ 1830964 w 9601186"/>
              <a:gd name="connsiteY168" fmla="*/ 1027385 h 6857989"/>
              <a:gd name="connsiteX169" fmla="*/ 2714368 w 9601186"/>
              <a:gd name="connsiteY169" fmla="*/ 1027385 h 6857989"/>
              <a:gd name="connsiteX170" fmla="*/ 2746360 w 9601186"/>
              <a:gd name="connsiteY170" fmla="*/ 1038235 h 6857989"/>
              <a:gd name="connsiteX171" fmla="*/ 2762648 w 9601186"/>
              <a:gd name="connsiteY171" fmla="*/ 1064786 h 6857989"/>
              <a:gd name="connsiteX172" fmla="*/ 2767196 w 9601186"/>
              <a:gd name="connsiteY172" fmla="*/ 1098044 h 6857989"/>
              <a:gd name="connsiteX173" fmla="*/ 2765052 w 9601186"/>
              <a:gd name="connsiteY173" fmla="*/ 1122183 h 6857989"/>
              <a:gd name="connsiteX174" fmla="*/ 2757248 w 9601186"/>
              <a:gd name="connsiteY174" fmla="*/ 1145035 h 6857989"/>
              <a:gd name="connsiteX175" fmla="*/ 2739410 w 9601186"/>
              <a:gd name="connsiteY175" fmla="*/ 1164243 h 6857989"/>
              <a:gd name="connsiteX176" fmla="*/ 2714368 w 9601186"/>
              <a:gd name="connsiteY176" fmla="*/ 1172132 h 6857989"/>
              <a:gd name="connsiteX177" fmla="*/ 2690655 w 9601186"/>
              <a:gd name="connsiteY177" fmla="*/ 1165787 h 6857989"/>
              <a:gd name="connsiteX178" fmla="*/ 2672861 w 9601186"/>
              <a:gd name="connsiteY178" fmla="*/ 1149151 h 6857989"/>
              <a:gd name="connsiteX179" fmla="*/ 2662827 w 9601186"/>
              <a:gd name="connsiteY179" fmla="*/ 1125141 h 6857989"/>
              <a:gd name="connsiteX180" fmla="*/ 2660511 w 9601186"/>
              <a:gd name="connsiteY180" fmla="*/ 1099073 h 6857989"/>
              <a:gd name="connsiteX181" fmla="*/ 2662655 w 9601186"/>
              <a:gd name="connsiteY181" fmla="*/ 1075406 h 6857989"/>
              <a:gd name="connsiteX182" fmla="*/ 2670460 w 9601186"/>
              <a:gd name="connsiteY182" fmla="*/ 1052768 h 6857989"/>
              <a:gd name="connsiteX183" fmla="*/ 2688812 w 9601186"/>
              <a:gd name="connsiteY183" fmla="*/ 1034160 h 6857989"/>
              <a:gd name="connsiteX184" fmla="*/ 2714368 w 9601186"/>
              <a:gd name="connsiteY184" fmla="*/ 1027385 h 6857989"/>
              <a:gd name="connsiteX185" fmla="*/ 2115854 w 9601186"/>
              <a:gd name="connsiteY185" fmla="*/ 1026700 h 6857989"/>
              <a:gd name="connsiteX186" fmla="*/ 2142981 w 9601186"/>
              <a:gd name="connsiteY186" fmla="*/ 1035761 h 6857989"/>
              <a:gd name="connsiteX187" fmla="*/ 2159282 w 9601186"/>
              <a:gd name="connsiteY187" fmla="*/ 1058015 h 6857989"/>
              <a:gd name="connsiteX188" fmla="*/ 2164909 w 9601186"/>
              <a:gd name="connsiteY188" fmla="*/ 1086064 h 6857989"/>
              <a:gd name="connsiteX189" fmla="*/ 2063712 w 9601186"/>
              <a:gd name="connsiteY189" fmla="*/ 1086064 h 6857989"/>
              <a:gd name="connsiteX190" fmla="*/ 2070751 w 9601186"/>
              <a:gd name="connsiteY190" fmla="*/ 1057710 h 6857989"/>
              <a:gd name="connsiteX191" fmla="*/ 2088004 w 9601186"/>
              <a:gd name="connsiteY191" fmla="*/ 1035609 h 6857989"/>
              <a:gd name="connsiteX192" fmla="*/ 2115854 w 9601186"/>
              <a:gd name="connsiteY192" fmla="*/ 1026700 h 6857989"/>
              <a:gd name="connsiteX193" fmla="*/ 3112873 w 9601186"/>
              <a:gd name="connsiteY193" fmla="*/ 1026700 h 6857989"/>
              <a:gd name="connsiteX194" fmla="*/ 3139999 w 9601186"/>
              <a:gd name="connsiteY194" fmla="*/ 1035761 h 6857989"/>
              <a:gd name="connsiteX195" fmla="*/ 3156300 w 9601186"/>
              <a:gd name="connsiteY195" fmla="*/ 1058015 h 6857989"/>
              <a:gd name="connsiteX196" fmla="*/ 3161928 w 9601186"/>
              <a:gd name="connsiteY196" fmla="*/ 1086064 h 6857989"/>
              <a:gd name="connsiteX197" fmla="*/ 3060730 w 9601186"/>
              <a:gd name="connsiteY197" fmla="*/ 1086064 h 6857989"/>
              <a:gd name="connsiteX198" fmla="*/ 3067769 w 9601186"/>
              <a:gd name="connsiteY198" fmla="*/ 1057710 h 6857989"/>
              <a:gd name="connsiteX199" fmla="*/ 3085023 w 9601186"/>
              <a:gd name="connsiteY199" fmla="*/ 1035609 h 6857989"/>
              <a:gd name="connsiteX200" fmla="*/ 3112873 w 9601186"/>
              <a:gd name="connsiteY200" fmla="*/ 1026700 h 6857989"/>
              <a:gd name="connsiteX201" fmla="*/ 3377475 w 9601186"/>
              <a:gd name="connsiteY201" fmla="*/ 1011227 h 6857989"/>
              <a:gd name="connsiteX202" fmla="*/ 3323829 w 9601186"/>
              <a:gd name="connsiteY202" fmla="*/ 1034047 h 6857989"/>
              <a:gd name="connsiteX203" fmla="*/ 3316165 w 9601186"/>
              <a:gd name="connsiteY203" fmla="*/ 1064474 h 6857989"/>
              <a:gd name="connsiteX204" fmla="*/ 3372877 w 9601186"/>
              <a:gd name="connsiteY204" fmla="*/ 1113158 h 6857989"/>
              <a:gd name="connsiteX205" fmla="*/ 3417327 w 9601186"/>
              <a:gd name="connsiteY205" fmla="*/ 1142064 h 6857989"/>
              <a:gd name="connsiteX206" fmla="*/ 3382074 w 9601186"/>
              <a:gd name="connsiteY206" fmla="*/ 1174012 h 6857989"/>
              <a:gd name="connsiteX207" fmla="*/ 3351418 w 9601186"/>
              <a:gd name="connsiteY207" fmla="*/ 1164884 h 6857989"/>
              <a:gd name="connsiteX208" fmla="*/ 3334558 w 9601186"/>
              <a:gd name="connsiteY208" fmla="*/ 1131414 h 6857989"/>
              <a:gd name="connsiteX209" fmla="*/ 3313100 w 9601186"/>
              <a:gd name="connsiteY209" fmla="*/ 1131414 h 6857989"/>
              <a:gd name="connsiteX210" fmla="*/ 3313100 w 9601186"/>
              <a:gd name="connsiteY210" fmla="*/ 1192269 h 6857989"/>
              <a:gd name="connsiteX211" fmla="*/ 3334558 w 9601186"/>
              <a:gd name="connsiteY211" fmla="*/ 1192269 h 6857989"/>
              <a:gd name="connsiteX212" fmla="*/ 3334558 w 9601186"/>
              <a:gd name="connsiteY212" fmla="*/ 1164884 h 6857989"/>
              <a:gd name="connsiteX213" fmla="*/ 3388204 w 9601186"/>
              <a:gd name="connsiteY213" fmla="*/ 1193790 h 6857989"/>
              <a:gd name="connsiteX214" fmla="*/ 3441851 w 9601186"/>
              <a:gd name="connsiteY214" fmla="*/ 1164884 h 6857989"/>
              <a:gd name="connsiteX215" fmla="*/ 3446449 w 9601186"/>
              <a:gd name="connsiteY215" fmla="*/ 1139021 h 6857989"/>
              <a:gd name="connsiteX216" fmla="*/ 3383607 w 9601186"/>
              <a:gd name="connsiteY216" fmla="*/ 1088816 h 6857989"/>
              <a:gd name="connsiteX217" fmla="*/ 3349886 w 9601186"/>
              <a:gd name="connsiteY217" fmla="*/ 1078166 h 6857989"/>
              <a:gd name="connsiteX218" fmla="*/ 3343755 w 9601186"/>
              <a:gd name="connsiteY218" fmla="*/ 1062953 h 6857989"/>
              <a:gd name="connsiteX219" fmla="*/ 3380541 w 9601186"/>
              <a:gd name="connsiteY219" fmla="*/ 1031004 h 6857989"/>
              <a:gd name="connsiteX220" fmla="*/ 3397401 w 9601186"/>
              <a:gd name="connsiteY220" fmla="*/ 1034047 h 6857989"/>
              <a:gd name="connsiteX221" fmla="*/ 3423458 w 9601186"/>
              <a:gd name="connsiteY221" fmla="*/ 1073603 h 6857989"/>
              <a:gd name="connsiteX222" fmla="*/ 3444917 w 9601186"/>
              <a:gd name="connsiteY222" fmla="*/ 1073603 h 6857989"/>
              <a:gd name="connsiteX223" fmla="*/ 3444917 w 9601186"/>
              <a:gd name="connsiteY223" fmla="*/ 1015791 h 6857989"/>
              <a:gd name="connsiteX224" fmla="*/ 3423458 w 9601186"/>
              <a:gd name="connsiteY224" fmla="*/ 1015791 h 6857989"/>
              <a:gd name="connsiteX225" fmla="*/ 3423458 w 9601186"/>
              <a:gd name="connsiteY225" fmla="*/ 1034047 h 6857989"/>
              <a:gd name="connsiteX226" fmla="*/ 3377475 w 9601186"/>
              <a:gd name="connsiteY226" fmla="*/ 1011227 h 6857989"/>
              <a:gd name="connsiteX227" fmla="*/ 1832679 w 9601186"/>
              <a:gd name="connsiteY227" fmla="*/ 1006168 h 6857989"/>
              <a:gd name="connsiteX228" fmla="*/ 1798334 w 9601186"/>
              <a:gd name="connsiteY228" fmla="*/ 1012501 h 6857989"/>
              <a:gd name="connsiteX229" fmla="*/ 1769917 w 9601186"/>
              <a:gd name="connsiteY229" fmla="*/ 1032188 h 6857989"/>
              <a:gd name="connsiteX230" fmla="*/ 1752497 w 9601186"/>
              <a:gd name="connsiteY230" fmla="*/ 1063274 h 6857989"/>
              <a:gd name="connsiteX231" fmla="*/ 1747661 w 9601186"/>
              <a:gd name="connsiteY231" fmla="*/ 1098730 h 6857989"/>
              <a:gd name="connsiteX232" fmla="*/ 1752283 w 9601186"/>
              <a:gd name="connsiteY232" fmla="*/ 1132345 h 6857989"/>
              <a:gd name="connsiteX233" fmla="*/ 1767178 w 9601186"/>
              <a:gd name="connsiteY233" fmla="*/ 1162872 h 6857989"/>
              <a:gd name="connsiteX234" fmla="*/ 1795119 w 9601186"/>
              <a:gd name="connsiteY234" fmla="*/ 1186288 h 6857989"/>
              <a:gd name="connsiteX235" fmla="*/ 1831307 w 9601186"/>
              <a:gd name="connsiteY235" fmla="*/ 1193006 h 6857989"/>
              <a:gd name="connsiteX236" fmla="*/ 1877118 w 9601186"/>
              <a:gd name="connsiteY236" fmla="*/ 1180049 h 6857989"/>
              <a:gd name="connsiteX237" fmla="*/ 1904701 w 9601186"/>
              <a:gd name="connsiteY237" fmla="*/ 1146446 h 6857989"/>
              <a:gd name="connsiteX238" fmla="*/ 1913925 w 9601186"/>
              <a:gd name="connsiteY238" fmla="*/ 1100102 h 6857989"/>
              <a:gd name="connsiteX239" fmla="*/ 1905361 w 9601186"/>
              <a:gd name="connsiteY239" fmla="*/ 1053188 h 6857989"/>
              <a:gd name="connsiteX240" fmla="*/ 1878742 w 9601186"/>
              <a:gd name="connsiteY240" fmla="*/ 1019241 h 6857989"/>
              <a:gd name="connsiteX241" fmla="*/ 1832679 w 9601186"/>
              <a:gd name="connsiteY241" fmla="*/ 1006168 h 6857989"/>
              <a:gd name="connsiteX242" fmla="*/ 2116540 w 9601186"/>
              <a:gd name="connsiteY242" fmla="*/ 1006168 h 6857989"/>
              <a:gd name="connsiteX243" fmla="*/ 2076324 w 9601186"/>
              <a:gd name="connsiteY243" fmla="*/ 1016226 h 6857989"/>
              <a:gd name="connsiteX244" fmla="*/ 2046933 w 9601186"/>
              <a:gd name="connsiteY244" fmla="*/ 1044544 h 6857989"/>
              <a:gd name="connsiteX245" fmla="*/ 2036661 w 9601186"/>
              <a:gd name="connsiteY245" fmla="*/ 1071776 h 6857989"/>
              <a:gd name="connsiteX246" fmla="*/ 2033580 w 9601186"/>
              <a:gd name="connsiteY246" fmla="*/ 1100778 h 6857989"/>
              <a:gd name="connsiteX247" fmla="*/ 2052851 w 9601186"/>
              <a:gd name="connsiteY247" fmla="*/ 1166959 h 6857989"/>
              <a:gd name="connsiteX248" fmla="*/ 2115854 w 9601186"/>
              <a:gd name="connsiteY248" fmla="*/ 1193006 h 6857989"/>
              <a:gd name="connsiteX249" fmla="*/ 2166004 w 9601186"/>
              <a:gd name="connsiteY249" fmla="*/ 1178407 h 6857989"/>
              <a:gd name="connsiteX250" fmla="*/ 2191960 w 9601186"/>
              <a:gd name="connsiteY250" fmla="*/ 1134731 h 6857989"/>
              <a:gd name="connsiteX251" fmla="*/ 2165594 w 9601186"/>
              <a:gd name="connsiteY251" fmla="*/ 1134731 h 6857989"/>
              <a:gd name="connsiteX252" fmla="*/ 2150330 w 9601186"/>
              <a:gd name="connsiteY252" fmla="*/ 1161409 h 6857989"/>
              <a:gd name="connsiteX253" fmla="*/ 2120658 w 9601186"/>
              <a:gd name="connsiteY253" fmla="*/ 1172132 h 6857989"/>
              <a:gd name="connsiteX254" fmla="*/ 2096816 w 9601186"/>
              <a:gd name="connsiteY254" fmla="*/ 1168787 h 6857989"/>
              <a:gd name="connsiteX255" fmla="*/ 2078119 w 9601186"/>
              <a:gd name="connsiteY255" fmla="*/ 1154633 h 6857989"/>
              <a:gd name="connsiteX256" fmla="*/ 2066241 w 9601186"/>
              <a:gd name="connsiteY256" fmla="*/ 1132029 h 6857989"/>
              <a:gd name="connsiteX257" fmla="*/ 2062342 w 9601186"/>
              <a:gd name="connsiteY257" fmla="*/ 1106595 h 6857989"/>
              <a:gd name="connsiteX258" fmla="*/ 2194356 w 9601186"/>
              <a:gd name="connsiteY258" fmla="*/ 1106595 h 6857989"/>
              <a:gd name="connsiteX259" fmla="*/ 2194356 w 9601186"/>
              <a:gd name="connsiteY259" fmla="*/ 1101805 h 6857989"/>
              <a:gd name="connsiteX260" fmla="*/ 2193500 w 9601186"/>
              <a:gd name="connsiteY260" fmla="*/ 1083869 h 6857989"/>
              <a:gd name="connsiteX261" fmla="*/ 2190589 w 9601186"/>
              <a:gd name="connsiteY261" fmla="*/ 1066162 h 6857989"/>
              <a:gd name="connsiteX262" fmla="*/ 2181901 w 9601186"/>
              <a:gd name="connsiteY262" fmla="*/ 1041972 h 6857989"/>
              <a:gd name="connsiteX263" fmla="*/ 2165253 w 9601186"/>
              <a:gd name="connsiteY263" fmla="*/ 1021909 h 6857989"/>
              <a:gd name="connsiteX264" fmla="*/ 2142311 w 9601186"/>
              <a:gd name="connsiteY264" fmla="*/ 1010189 h 6857989"/>
              <a:gd name="connsiteX265" fmla="*/ 2116540 w 9601186"/>
              <a:gd name="connsiteY265" fmla="*/ 1006168 h 6857989"/>
              <a:gd name="connsiteX266" fmla="*/ 2716082 w 9601186"/>
              <a:gd name="connsiteY266" fmla="*/ 1006168 h 6857989"/>
              <a:gd name="connsiteX267" fmla="*/ 2681739 w 9601186"/>
              <a:gd name="connsiteY267" fmla="*/ 1012501 h 6857989"/>
              <a:gd name="connsiteX268" fmla="*/ 2653320 w 9601186"/>
              <a:gd name="connsiteY268" fmla="*/ 1032188 h 6857989"/>
              <a:gd name="connsiteX269" fmla="*/ 2635901 w 9601186"/>
              <a:gd name="connsiteY269" fmla="*/ 1063273 h 6857989"/>
              <a:gd name="connsiteX270" fmla="*/ 2631065 w 9601186"/>
              <a:gd name="connsiteY270" fmla="*/ 1098730 h 6857989"/>
              <a:gd name="connsiteX271" fmla="*/ 2635687 w 9601186"/>
              <a:gd name="connsiteY271" fmla="*/ 1132344 h 6857989"/>
              <a:gd name="connsiteX272" fmla="*/ 2650582 w 9601186"/>
              <a:gd name="connsiteY272" fmla="*/ 1162871 h 6857989"/>
              <a:gd name="connsiteX273" fmla="*/ 2678522 w 9601186"/>
              <a:gd name="connsiteY273" fmla="*/ 1186288 h 6857989"/>
              <a:gd name="connsiteX274" fmla="*/ 2714710 w 9601186"/>
              <a:gd name="connsiteY274" fmla="*/ 1193006 h 6857989"/>
              <a:gd name="connsiteX275" fmla="*/ 2760523 w 9601186"/>
              <a:gd name="connsiteY275" fmla="*/ 1180048 h 6857989"/>
              <a:gd name="connsiteX276" fmla="*/ 2788104 w 9601186"/>
              <a:gd name="connsiteY276" fmla="*/ 1146445 h 6857989"/>
              <a:gd name="connsiteX277" fmla="*/ 2797329 w 9601186"/>
              <a:gd name="connsiteY277" fmla="*/ 1100102 h 6857989"/>
              <a:gd name="connsiteX278" fmla="*/ 2788764 w 9601186"/>
              <a:gd name="connsiteY278" fmla="*/ 1053187 h 6857989"/>
              <a:gd name="connsiteX279" fmla="*/ 2762147 w 9601186"/>
              <a:gd name="connsiteY279" fmla="*/ 1019241 h 6857989"/>
              <a:gd name="connsiteX280" fmla="*/ 2716082 w 9601186"/>
              <a:gd name="connsiteY280" fmla="*/ 1006168 h 6857989"/>
              <a:gd name="connsiteX281" fmla="*/ 3113559 w 9601186"/>
              <a:gd name="connsiteY281" fmla="*/ 1006168 h 6857989"/>
              <a:gd name="connsiteX282" fmla="*/ 3073343 w 9601186"/>
              <a:gd name="connsiteY282" fmla="*/ 1016226 h 6857989"/>
              <a:gd name="connsiteX283" fmla="*/ 3043952 w 9601186"/>
              <a:gd name="connsiteY283" fmla="*/ 1044544 h 6857989"/>
              <a:gd name="connsiteX284" fmla="*/ 3033679 w 9601186"/>
              <a:gd name="connsiteY284" fmla="*/ 1071776 h 6857989"/>
              <a:gd name="connsiteX285" fmla="*/ 3030597 w 9601186"/>
              <a:gd name="connsiteY285" fmla="*/ 1100778 h 6857989"/>
              <a:gd name="connsiteX286" fmla="*/ 3049870 w 9601186"/>
              <a:gd name="connsiteY286" fmla="*/ 1166959 h 6857989"/>
              <a:gd name="connsiteX287" fmla="*/ 3112873 w 9601186"/>
              <a:gd name="connsiteY287" fmla="*/ 1193006 h 6857989"/>
              <a:gd name="connsiteX288" fmla="*/ 3163022 w 9601186"/>
              <a:gd name="connsiteY288" fmla="*/ 1178407 h 6857989"/>
              <a:gd name="connsiteX289" fmla="*/ 3188978 w 9601186"/>
              <a:gd name="connsiteY289" fmla="*/ 1134731 h 6857989"/>
              <a:gd name="connsiteX290" fmla="*/ 3162613 w 9601186"/>
              <a:gd name="connsiteY290" fmla="*/ 1134731 h 6857989"/>
              <a:gd name="connsiteX291" fmla="*/ 3147349 w 9601186"/>
              <a:gd name="connsiteY291" fmla="*/ 1161409 h 6857989"/>
              <a:gd name="connsiteX292" fmla="*/ 3117676 w 9601186"/>
              <a:gd name="connsiteY292" fmla="*/ 1172132 h 6857989"/>
              <a:gd name="connsiteX293" fmla="*/ 3093834 w 9601186"/>
              <a:gd name="connsiteY293" fmla="*/ 1168787 h 6857989"/>
              <a:gd name="connsiteX294" fmla="*/ 3075138 w 9601186"/>
              <a:gd name="connsiteY294" fmla="*/ 1154633 h 6857989"/>
              <a:gd name="connsiteX295" fmla="*/ 3063260 w 9601186"/>
              <a:gd name="connsiteY295" fmla="*/ 1132029 h 6857989"/>
              <a:gd name="connsiteX296" fmla="*/ 3059360 w 9601186"/>
              <a:gd name="connsiteY296" fmla="*/ 1106595 h 6857989"/>
              <a:gd name="connsiteX297" fmla="*/ 3191375 w 9601186"/>
              <a:gd name="connsiteY297" fmla="*/ 1106595 h 6857989"/>
              <a:gd name="connsiteX298" fmla="*/ 3191375 w 9601186"/>
              <a:gd name="connsiteY298" fmla="*/ 1101805 h 6857989"/>
              <a:gd name="connsiteX299" fmla="*/ 3190519 w 9601186"/>
              <a:gd name="connsiteY299" fmla="*/ 1083869 h 6857989"/>
              <a:gd name="connsiteX300" fmla="*/ 3187608 w 9601186"/>
              <a:gd name="connsiteY300" fmla="*/ 1066162 h 6857989"/>
              <a:gd name="connsiteX301" fmla="*/ 3178920 w 9601186"/>
              <a:gd name="connsiteY301" fmla="*/ 1041972 h 6857989"/>
              <a:gd name="connsiteX302" fmla="*/ 3162271 w 9601186"/>
              <a:gd name="connsiteY302" fmla="*/ 1021909 h 6857989"/>
              <a:gd name="connsiteX303" fmla="*/ 3139330 w 9601186"/>
              <a:gd name="connsiteY303" fmla="*/ 1010189 h 6857989"/>
              <a:gd name="connsiteX304" fmla="*/ 3113559 w 9601186"/>
              <a:gd name="connsiteY304" fmla="*/ 1006168 h 6857989"/>
              <a:gd name="connsiteX305" fmla="*/ 713870 w 9601186"/>
              <a:gd name="connsiteY305" fmla="*/ 999971 h 6857989"/>
              <a:gd name="connsiteX306" fmla="*/ 699931 w 9601186"/>
              <a:gd name="connsiteY306" fmla="*/ 1037164 h 6857989"/>
              <a:gd name="connsiteX307" fmla="*/ 737102 w 9601186"/>
              <a:gd name="connsiteY307" fmla="*/ 1052663 h 6857989"/>
              <a:gd name="connsiteX308" fmla="*/ 751041 w 9601186"/>
              <a:gd name="connsiteY308" fmla="*/ 1015468 h 6857989"/>
              <a:gd name="connsiteX309" fmla="*/ 713870 w 9601186"/>
              <a:gd name="connsiteY309" fmla="*/ 999971 h 6857989"/>
              <a:gd name="connsiteX310" fmla="*/ 869692 w 9601186"/>
              <a:gd name="connsiteY310" fmla="*/ 998281 h 6857989"/>
              <a:gd name="connsiteX311" fmla="*/ 869692 w 9601186"/>
              <a:gd name="connsiteY311" fmla="*/ 1017832 h 6857989"/>
              <a:gd name="connsiteX312" fmla="*/ 887739 w 9601186"/>
              <a:gd name="connsiteY312" fmla="*/ 1016328 h 6857989"/>
              <a:gd name="connsiteX313" fmla="*/ 887739 w 9601186"/>
              <a:gd name="connsiteY313" fmla="*/ 998281 h 6857989"/>
              <a:gd name="connsiteX314" fmla="*/ 869692 w 9601186"/>
              <a:gd name="connsiteY314" fmla="*/ 998281 h 6857989"/>
              <a:gd name="connsiteX315" fmla="*/ 839273 w 9601186"/>
              <a:gd name="connsiteY315" fmla="*/ 992880 h 6857989"/>
              <a:gd name="connsiteX316" fmla="*/ 826700 w 9601186"/>
              <a:gd name="connsiteY316" fmla="*/ 995166 h 6857989"/>
              <a:gd name="connsiteX317" fmla="*/ 822128 w 9601186"/>
              <a:gd name="connsiteY317" fmla="*/ 1019550 h 6857989"/>
              <a:gd name="connsiteX318" fmla="*/ 844988 w 9601186"/>
              <a:gd name="connsiteY318" fmla="*/ 1022598 h 6857989"/>
              <a:gd name="connsiteX319" fmla="*/ 849560 w 9601186"/>
              <a:gd name="connsiteY319" fmla="*/ 999738 h 6857989"/>
              <a:gd name="connsiteX320" fmla="*/ 839273 w 9601186"/>
              <a:gd name="connsiteY320" fmla="*/ 992880 h 6857989"/>
              <a:gd name="connsiteX321" fmla="*/ 1222902 w 9601186"/>
              <a:gd name="connsiteY321" fmla="*/ 992069 h 6857989"/>
              <a:gd name="connsiteX322" fmla="*/ 1185709 w 9601186"/>
              <a:gd name="connsiteY322" fmla="*/ 1009105 h 6857989"/>
              <a:gd name="connsiteX323" fmla="*/ 1201206 w 9601186"/>
              <a:gd name="connsiteY323" fmla="*/ 1044727 h 6857989"/>
              <a:gd name="connsiteX324" fmla="*/ 1238399 w 9601186"/>
              <a:gd name="connsiteY324" fmla="*/ 1029239 h 6857989"/>
              <a:gd name="connsiteX325" fmla="*/ 1222902 w 9601186"/>
              <a:gd name="connsiteY325" fmla="*/ 992069 h 6857989"/>
              <a:gd name="connsiteX326" fmla="*/ 1054929 w 9601186"/>
              <a:gd name="connsiteY326" fmla="*/ 990323 h 6857989"/>
              <a:gd name="connsiteX327" fmla="*/ 1045905 w 9601186"/>
              <a:gd name="connsiteY327" fmla="*/ 995023 h 6857989"/>
              <a:gd name="connsiteX328" fmla="*/ 1045905 w 9601186"/>
              <a:gd name="connsiteY328" fmla="*/ 1013070 h 6857989"/>
              <a:gd name="connsiteX329" fmla="*/ 1065457 w 9601186"/>
              <a:gd name="connsiteY329" fmla="*/ 1011566 h 6857989"/>
              <a:gd name="connsiteX330" fmla="*/ 1063952 w 9601186"/>
              <a:gd name="connsiteY330" fmla="*/ 993519 h 6857989"/>
              <a:gd name="connsiteX331" fmla="*/ 1054929 w 9601186"/>
              <a:gd name="connsiteY331" fmla="*/ 990323 h 6857989"/>
              <a:gd name="connsiteX332" fmla="*/ 1098288 w 9601186"/>
              <a:gd name="connsiteY332" fmla="*/ 985704 h 6857989"/>
              <a:gd name="connsiteX333" fmla="*/ 1087240 w 9601186"/>
              <a:gd name="connsiteY333" fmla="*/ 993324 h 6857989"/>
              <a:gd name="connsiteX334" fmla="*/ 1093335 w 9601186"/>
              <a:gd name="connsiteY334" fmla="*/ 1016184 h 6857989"/>
              <a:gd name="connsiteX335" fmla="*/ 1116195 w 9601186"/>
              <a:gd name="connsiteY335" fmla="*/ 1010088 h 6857989"/>
              <a:gd name="connsiteX336" fmla="*/ 1111623 w 9601186"/>
              <a:gd name="connsiteY336" fmla="*/ 987228 h 6857989"/>
              <a:gd name="connsiteX337" fmla="*/ 1098288 w 9601186"/>
              <a:gd name="connsiteY337" fmla="*/ 985704 h 6857989"/>
              <a:gd name="connsiteX338" fmla="*/ 785043 w 9601186"/>
              <a:gd name="connsiteY338" fmla="*/ 981067 h 6857989"/>
              <a:gd name="connsiteX339" fmla="*/ 769858 w 9601186"/>
              <a:gd name="connsiteY339" fmla="*/ 1000117 h 6857989"/>
              <a:gd name="connsiteX340" fmla="*/ 786562 w 9601186"/>
              <a:gd name="connsiteY340" fmla="*/ 1015992 h 6857989"/>
              <a:gd name="connsiteX341" fmla="*/ 803265 w 9601186"/>
              <a:gd name="connsiteY341" fmla="*/ 998529 h 6857989"/>
              <a:gd name="connsiteX342" fmla="*/ 785043 w 9601186"/>
              <a:gd name="connsiteY342" fmla="*/ 981067 h 6857989"/>
              <a:gd name="connsiteX343" fmla="*/ 1152738 w 9601186"/>
              <a:gd name="connsiteY343" fmla="*/ 971666 h 6857989"/>
              <a:gd name="connsiteX344" fmla="*/ 1141137 w 9601186"/>
              <a:gd name="connsiteY344" fmla="*/ 977561 h 6857989"/>
              <a:gd name="connsiteX345" fmla="*/ 1141137 w 9601186"/>
              <a:gd name="connsiteY345" fmla="*/ 1000382 h 6857989"/>
              <a:gd name="connsiteX346" fmla="*/ 1165479 w 9601186"/>
              <a:gd name="connsiteY346" fmla="*/ 1000382 h 6857989"/>
              <a:gd name="connsiteX347" fmla="*/ 1165479 w 9601186"/>
              <a:gd name="connsiteY347" fmla="*/ 976040 h 6857989"/>
              <a:gd name="connsiteX348" fmla="*/ 1152738 w 9601186"/>
              <a:gd name="connsiteY348" fmla="*/ 971666 h 6857989"/>
              <a:gd name="connsiteX349" fmla="*/ 1581063 w 9601186"/>
              <a:gd name="connsiteY349" fmla="*/ 967722 h 6857989"/>
              <a:gd name="connsiteX350" fmla="*/ 1623259 w 9601186"/>
              <a:gd name="connsiteY350" fmla="*/ 967722 h 6857989"/>
              <a:gd name="connsiteX351" fmla="*/ 1642684 w 9601186"/>
              <a:gd name="connsiteY351" fmla="*/ 968708 h 6857989"/>
              <a:gd name="connsiteX352" fmla="*/ 1660309 w 9601186"/>
              <a:gd name="connsiteY352" fmla="*/ 975612 h 6857989"/>
              <a:gd name="connsiteX353" fmla="*/ 1671501 w 9601186"/>
              <a:gd name="connsiteY353" fmla="*/ 992293 h 6857989"/>
              <a:gd name="connsiteX354" fmla="*/ 1674717 w 9601186"/>
              <a:gd name="connsiteY354" fmla="*/ 1012319 h 6857989"/>
              <a:gd name="connsiteX355" fmla="*/ 1671072 w 9601186"/>
              <a:gd name="connsiteY355" fmla="*/ 1033289 h 6857989"/>
              <a:gd name="connsiteX356" fmla="*/ 1658937 w 9601186"/>
              <a:gd name="connsiteY356" fmla="*/ 1050399 h 6857989"/>
              <a:gd name="connsiteX357" fmla="*/ 1637324 w 9601186"/>
              <a:gd name="connsiteY357" fmla="*/ 1058504 h 6857989"/>
              <a:gd name="connsiteX358" fmla="*/ 1613653 w 9601186"/>
              <a:gd name="connsiteY358" fmla="*/ 1059662 h 6857989"/>
              <a:gd name="connsiteX359" fmla="*/ 1581063 w 9601186"/>
              <a:gd name="connsiteY359" fmla="*/ 1059662 h 6857989"/>
              <a:gd name="connsiteX360" fmla="*/ 625753 w 9601186"/>
              <a:gd name="connsiteY360" fmla="*/ 957072 h 6857989"/>
              <a:gd name="connsiteX361" fmla="*/ 598298 w 9601186"/>
              <a:gd name="connsiteY361" fmla="*/ 999779 h 6857989"/>
              <a:gd name="connsiteX362" fmla="*/ 641005 w 9601186"/>
              <a:gd name="connsiteY362" fmla="*/ 1027234 h 6857989"/>
              <a:gd name="connsiteX363" fmla="*/ 668460 w 9601186"/>
              <a:gd name="connsiteY363" fmla="*/ 984527 h 6857989"/>
              <a:gd name="connsiteX364" fmla="*/ 625753 w 9601186"/>
              <a:gd name="connsiteY364" fmla="*/ 957072 h 6857989"/>
              <a:gd name="connsiteX365" fmla="*/ 1930387 w 9601186"/>
              <a:gd name="connsiteY365" fmla="*/ 949314 h 6857989"/>
              <a:gd name="connsiteX366" fmla="*/ 1930387 w 9601186"/>
              <a:gd name="connsiteY366" fmla="*/ 969951 h 6857989"/>
              <a:gd name="connsiteX367" fmla="*/ 1958962 w 9601186"/>
              <a:gd name="connsiteY367" fmla="*/ 969951 h 6857989"/>
              <a:gd name="connsiteX368" fmla="*/ 1958962 w 9601186"/>
              <a:gd name="connsiteY368" fmla="*/ 1171565 h 6857989"/>
              <a:gd name="connsiteX369" fmla="*/ 1930387 w 9601186"/>
              <a:gd name="connsiteY369" fmla="*/ 1171565 h 6857989"/>
              <a:gd name="connsiteX370" fmla="*/ 1930387 w 9601186"/>
              <a:gd name="connsiteY370" fmla="*/ 1192202 h 6857989"/>
              <a:gd name="connsiteX371" fmla="*/ 2012937 w 9601186"/>
              <a:gd name="connsiteY371" fmla="*/ 1192202 h 6857989"/>
              <a:gd name="connsiteX372" fmla="*/ 2012937 w 9601186"/>
              <a:gd name="connsiteY372" fmla="*/ 1171565 h 6857989"/>
              <a:gd name="connsiteX373" fmla="*/ 1985950 w 9601186"/>
              <a:gd name="connsiteY373" fmla="*/ 1171565 h 6857989"/>
              <a:gd name="connsiteX374" fmla="*/ 1985950 w 9601186"/>
              <a:gd name="connsiteY374" fmla="*/ 949314 h 6857989"/>
              <a:gd name="connsiteX375" fmla="*/ 3209913 w 9601186"/>
              <a:gd name="connsiteY375" fmla="*/ 949314 h 6857989"/>
              <a:gd name="connsiteX376" fmla="*/ 3209913 w 9601186"/>
              <a:gd name="connsiteY376" fmla="*/ 969951 h 6857989"/>
              <a:gd name="connsiteX377" fmla="*/ 3236900 w 9601186"/>
              <a:gd name="connsiteY377" fmla="*/ 969951 h 6857989"/>
              <a:gd name="connsiteX378" fmla="*/ 3236900 w 9601186"/>
              <a:gd name="connsiteY378" fmla="*/ 1171565 h 6857989"/>
              <a:gd name="connsiteX379" fmla="*/ 3209913 w 9601186"/>
              <a:gd name="connsiteY379" fmla="*/ 1171565 h 6857989"/>
              <a:gd name="connsiteX380" fmla="*/ 3209913 w 9601186"/>
              <a:gd name="connsiteY380" fmla="*/ 1192202 h 6857989"/>
              <a:gd name="connsiteX381" fmla="*/ 3292463 w 9601186"/>
              <a:gd name="connsiteY381" fmla="*/ 1192202 h 6857989"/>
              <a:gd name="connsiteX382" fmla="*/ 3292463 w 9601186"/>
              <a:gd name="connsiteY382" fmla="*/ 1171565 h 6857989"/>
              <a:gd name="connsiteX383" fmla="*/ 3265475 w 9601186"/>
              <a:gd name="connsiteY383" fmla="*/ 1171565 h 6857989"/>
              <a:gd name="connsiteX384" fmla="*/ 3265475 w 9601186"/>
              <a:gd name="connsiteY384" fmla="*/ 949314 h 6857989"/>
              <a:gd name="connsiteX385" fmla="*/ 2309800 w 9601186"/>
              <a:gd name="connsiteY385" fmla="*/ 949314 h 6857989"/>
              <a:gd name="connsiteX386" fmla="*/ 2309800 w 9601186"/>
              <a:gd name="connsiteY386" fmla="*/ 973126 h 6857989"/>
              <a:gd name="connsiteX387" fmla="*/ 2344725 w 9601186"/>
              <a:gd name="connsiteY387" fmla="*/ 973126 h 6857989"/>
              <a:gd name="connsiteX388" fmla="*/ 2344725 w 9601186"/>
              <a:gd name="connsiteY388" fmla="*/ 1169977 h 6857989"/>
              <a:gd name="connsiteX389" fmla="*/ 2309800 w 9601186"/>
              <a:gd name="connsiteY389" fmla="*/ 1169977 h 6857989"/>
              <a:gd name="connsiteX390" fmla="*/ 2309800 w 9601186"/>
              <a:gd name="connsiteY390" fmla="*/ 1192202 h 6857989"/>
              <a:gd name="connsiteX391" fmla="*/ 2401875 w 9601186"/>
              <a:gd name="connsiteY391" fmla="*/ 1192202 h 6857989"/>
              <a:gd name="connsiteX392" fmla="*/ 2401875 w 9601186"/>
              <a:gd name="connsiteY392" fmla="*/ 1169977 h 6857989"/>
              <a:gd name="connsiteX393" fmla="*/ 2370125 w 9601186"/>
              <a:gd name="connsiteY393" fmla="*/ 1169977 h 6857989"/>
              <a:gd name="connsiteX394" fmla="*/ 2370125 w 9601186"/>
              <a:gd name="connsiteY394" fmla="*/ 973126 h 6857989"/>
              <a:gd name="connsiteX395" fmla="*/ 2371713 w 9601186"/>
              <a:gd name="connsiteY395" fmla="*/ 973126 h 6857989"/>
              <a:gd name="connsiteX396" fmla="*/ 2446326 w 9601186"/>
              <a:gd name="connsiteY396" fmla="*/ 1192202 h 6857989"/>
              <a:gd name="connsiteX397" fmla="*/ 2471726 w 9601186"/>
              <a:gd name="connsiteY397" fmla="*/ 1192202 h 6857989"/>
              <a:gd name="connsiteX398" fmla="*/ 2543163 w 9601186"/>
              <a:gd name="connsiteY398" fmla="*/ 973126 h 6857989"/>
              <a:gd name="connsiteX399" fmla="*/ 2546338 w 9601186"/>
              <a:gd name="connsiteY399" fmla="*/ 973126 h 6857989"/>
              <a:gd name="connsiteX400" fmla="*/ 2546338 w 9601186"/>
              <a:gd name="connsiteY400" fmla="*/ 1169977 h 6857989"/>
              <a:gd name="connsiteX401" fmla="*/ 2514588 w 9601186"/>
              <a:gd name="connsiteY401" fmla="*/ 1169977 h 6857989"/>
              <a:gd name="connsiteX402" fmla="*/ 2514588 w 9601186"/>
              <a:gd name="connsiteY402" fmla="*/ 1192202 h 6857989"/>
              <a:gd name="connsiteX403" fmla="*/ 2609838 w 9601186"/>
              <a:gd name="connsiteY403" fmla="*/ 1192202 h 6857989"/>
              <a:gd name="connsiteX404" fmla="*/ 2609838 w 9601186"/>
              <a:gd name="connsiteY404" fmla="*/ 1169977 h 6857989"/>
              <a:gd name="connsiteX405" fmla="*/ 2573326 w 9601186"/>
              <a:gd name="connsiteY405" fmla="*/ 1169977 h 6857989"/>
              <a:gd name="connsiteX406" fmla="*/ 2573326 w 9601186"/>
              <a:gd name="connsiteY406" fmla="*/ 973126 h 6857989"/>
              <a:gd name="connsiteX407" fmla="*/ 2609838 w 9601186"/>
              <a:gd name="connsiteY407" fmla="*/ 973126 h 6857989"/>
              <a:gd name="connsiteX408" fmla="*/ 2609838 w 9601186"/>
              <a:gd name="connsiteY408" fmla="*/ 949314 h 6857989"/>
              <a:gd name="connsiteX409" fmla="*/ 2524113 w 9601186"/>
              <a:gd name="connsiteY409" fmla="*/ 949314 h 6857989"/>
              <a:gd name="connsiteX410" fmla="*/ 2459025 w 9601186"/>
              <a:gd name="connsiteY410" fmla="*/ 1157277 h 6857989"/>
              <a:gd name="connsiteX411" fmla="*/ 2397113 w 9601186"/>
              <a:gd name="connsiteY411" fmla="*/ 949314 h 6857989"/>
              <a:gd name="connsiteX412" fmla="*/ 1303083 w 9601186"/>
              <a:gd name="connsiteY412" fmla="*/ 947609 h 6857989"/>
              <a:gd name="connsiteX413" fmla="*/ 1261934 w 9601186"/>
              <a:gd name="connsiteY413" fmla="*/ 976565 h 6857989"/>
              <a:gd name="connsiteX414" fmla="*/ 1290890 w 9601186"/>
              <a:gd name="connsiteY414" fmla="*/ 1017713 h 6857989"/>
              <a:gd name="connsiteX415" fmla="*/ 1332039 w 9601186"/>
              <a:gd name="connsiteY415" fmla="*/ 988757 h 6857989"/>
              <a:gd name="connsiteX416" fmla="*/ 1303083 w 9601186"/>
              <a:gd name="connsiteY416" fmla="*/ 947609 h 6857989"/>
              <a:gd name="connsiteX417" fmla="*/ 1516297 w 9601186"/>
              <a:gd name="connsiteY417" fmla="*/ 945133 h 6857989"/>
              <a:gd name="connsiteX418" fmla="*/ 1516297 w 9601186"/>
              <a:gd name="connsiteY418" fmla="*/ 967722 h 6857989"/>
              <a:gd name="connsiteX419" fmla="*/ 1551273 w 9601186"/>
              <a:gd name="connsiteY419" fmla="*/ 967722 h 6857989"/>
              <a:gd name="connsiteX420" fmla="*/ 1551273 w 9601186"/>
              <a:gd name="connsiteY420" fmla="*/ 1168018 h 6857989"/>
              <a:gd name="connsiteX421" fmla="*/ 1516297 w 9601186"/>
              <a:gd name="connsiteY421" fmla="*/ 1168018 h 6857989"/>
              <a:gd name="connsiteX422" fmla="*/ 1516297 w 9601186"/>
              <a:gd name="connsiteY422" fmla="*/ 1190607 h 6857989"/>
              <a:gd name="connsiteX423" fmla="*/ 1614339 w 9601186"/>
              <a:gd name="connsiteY423" fmla="*/ 1190607 h 6857989"/>
              <a:gd name="connsiteX424" fmla="*/ 1614339 w 9601186"/>
              <a:gd name="connsiteY424" fmla="*/ 1168018 h 6857989"/>
              <a:gd name="connsiteX425" fmla="*/ 1581063 w 9601186"/>
              <a:gd name="connsiteY425" fmla="*/ 1168018 h 6857989"/>
              <a:gd name="connsiteX426" fmla="*/ 1581063 w 9601186"/>
              <a:gd name="connsiteY426" fmla="*/ 1082593 h 6857989"/>
              <a:gd name="connsiteX427" fmla="*/ 1614682 w 9601186"/>
              <a:gd name="connsiteY427" fmla="*/ 1082593 h 6857989"/>
              <a:gd name="connsiteX428" fmla="*/ 1627976 w 9601186"/>
              <a:gd name="connsiteY428" fmla="*/ 1083065 h 6857989"/>
              <a:gd name="connsiteX429" fmla="*/ 1640755 w 9601186"/>
              <a:gd name="connsiteY429" fmla="*/ 1086367 h 6857989"/>
              <a:gd name="connsiteX430" fmla="*/ 1654391 w 9601186"/>
              <a:gd name="connsiteY430" fmla="*/ 1099875 h 6857989"/>
              <a:gd name="connsiteX431" fmla="*/ 1661338 w 9601186"/>
              <a:gd name="connsiteY431" fmla="*/ 1118273 h 6857989"/>
              <a:gd name="connsiteX432" fmla="*/ 1681908 w 9601186"/>
              <a:gd name="connsiteY432" fmla="*/ 1190607 h 6857989"/>
              <a:gd name="connsiteX433" fmla="*/ 1732282 w 9601186"/>
              <a:gd name="connsiteY433" fmla="*/ 1190607 h 6857989"/>
              <a:gd name="connsiteX434" fmla="*/ 1732282 w 9601186"/>
              <a:gd name="connsiteY434" fmla="*/ 1168018 h 6857989"/>
              <a:gd name="connsiteX435" fmla="*/ 1705878 w 9601186"/>
              <a:gd name="connsiteY435" fmla="*/ 1168018 h 6857989"/>
              <a:gd name="connsiteX436" fmla="*/ 1690468 w 9601186"/>
              <a:gd name="connsiteY436" fmla="*/ 1113127 h 6857989"/>
              <a:gd name="connsiteX437" fmla="*/ 1679377 w 9601186"/>
              <a:gd name="connsiteY437" fmla="*/ 1085816 h 6857989"/>
              <a:gd name="connsiteX438" fmla="*/ 1653105 w 9601186"/>
              <a:gd name="connsiteY438" fmla="*/ 1072668 h 6857989"/>
              <a:gd name="connsiteX439" fmla="*/ 1692603 w 9601186"/>
              <a:gd name="connsiteY439" fmla="*/ 1051845 h 6857989"/>
              <a:gd name="connsiteX440" fmla="*/ 1704850 w 9601186"/>
              <a:gd name="connsiteY440" fmla="*/ 1007859 h 6857989"/>
              <a:gd name="connsiteX441" fmla="*/ 1698643 w 9601186"/>
              <a:gd name="connsiteY441" fmla="*/ 978404 h 6857989"/>
              <a:gd name="connsiteX442" fmla="*/ 1679853 w 9601186"/>
              <a:gd name="connsiteY442" fmla="*/ 955401 h 6857989"/>
              <a:gd name="connsiteX443" fmla="*/ 1650402 w 9601186"/>
              <a:gd name="connsiteY443" fmla="*/ 946159 h 6857989"/>
              <a:gd name="connsiteX444" fmla="*/ 1619142 w 9601186"/>
              <a:gd name="connsiteY444" fmla="*/ 945133 h 6857989"/>
              <a:gd name="connsiteX445" fmla="*/ 2924989 w 9601186"/>
              <a:gd name="connsiteY445" fmla="*/ 945133 h 6857989"/>
              <a:gd name="connsiteX446" fmla="*/ 2924989 w 9601186"/>
              <a:gd name="connsiteY446" fmla="*/ 965320 h 6857989"/>
              <a:gd name="connsiteX447" fmla="*/ 2954490 w 9601186"/>
              <a:gd name="connsiteY447" fmla="*/ 965320 h 6857989"/>
              <a:gd name="connsiteX448" fmla="*/ 2954490 w 9601186"/>
              <a:gd name="connsiteY448" fmla="*/ 1040762 h 6857989"/>
              <a:gd name="connsiteX449" fmla="*/ 2953633 w 9601186"/>
              <a:gd name="connsiteY449" fmla="*/ 1039047 h 6857989"/>
              <a:gd name="connsiteX450" fmla="*/ 2952775 w 9601186"/>
              <a:gd name="connsiteY450" fmla="*/ 1037332 h 6857989"/>
              <a:gd name="connsiteX451" fmla="*/ 2928848 w 9601186"/>
              <a:gd name="connsiteY451" fmla="*/ 1013787 h 6857989"/>
              <a:gd name="connsiteX452" fmla="*/ 2896173 w 9601186"/>
              <a:gd name="connsiteY452" fmla="*/ 1006169 h 6857989"/>
              <a:gd name="connsiteX453" fmla="*/ 2853326 w 9601186"/>
              <a:gd name="connsiteY453" fmla="*/ 1019546 h 6857989"/>
              <a:gd name="connsiteX454" fmla="*/ 2829083 w 9601186"/>
              <a:gd name="connsiteY454" fmla="*/ 1053341 h 6857989"/>
              <a:gd name="connsiteX455" fmla="*/ 2821445 w 9601186"/>
              <a:gd name="connsiteY455" fmla="*/ 1098045 h 6857989"/>
              <a:gd name="connsiteX456" fmla="*/ 2824441 w 9601186"/>
              <a:gd name="connsiteY456" fmla="*/ 1130759 h 6857989"/>
              <a:gd name="connsiteX457" fmla="*/ 2833087 w 9601186"/>
              <a:gd name="connsiteY457" fmla="*/ 1154983 h 6857989"/>
              <a:gd name="connsiteX458" fmla="*/ 2860803 w 9601186"/>
              <a:gd name="connsiteY458" fmla="*/ 1183634 h 6857989"/>
              <a:gd name="connsiteX459" fmla="*/ 2895487 w 9601186"/>
              <a:gd name="connsiteY459" fmla="*/ 1193006 h 6857989"/>
              <a:gd name="connsiteX460" fmla="*/ 2931678 w 9601186"/>
              <a:gd name="connsiteY460" fmla="*/ 1183506 h 6857989"/>
              <a:gd name="connsiteX461" fmla="*/ 2954490 w 9601186"/>
              <a:gd name="connsiteY461" fmla="*/ 1154983 h 6857989"/>
              <a:gd name="connsiteX462" fmla="*/ 2954490 w 9601186"/>
              <a:gd name="connsiteY462" fmla="*/ 1190607 h 6857989"/>
              <a:gd name="connsiteX463" fmla="*/ 3011026 w 9601186"/>
              <a:gd name="connsiteY463" fmla="*/ 1190607 h 6857989"/>
              <a:gd name="connsiteX464" fmla="*/ 3011026 w 9601186"/>
              <a:gd name="connsiteY464" fmla="*/ 1169046 h 6857989"/>
              <a:gd name="connsiteX465" fmla="*/ 2982223 w 9601186"/>
              <a:gd name="connsiteY465" fmla="*/ 1169046 h 6857989"/>
              <a:gd name="connsiteX466" fmla="*/ 2982223 w 9601186"/>
              <a:gd name="connsiteY466" fmla="*/ 945133 h 6857989"/>
              <a:gd name="connsiteX467" fmla="*/ 807394 w 9601186"/>
              <a:gd name="connsiteY467" fmla="*/ 935030 h 6857989"/>
              <a:gd name="connsiteX468" fmla="*/ 795202 w 9601186"/>
              <a:gd name="connsiteY468" fmla="*/ 957256 h 6857989"/>
              <a:gd name="connsiteX469" fmla="*/ 815014 w 9601186"/>
              <a:gd name="connsiteY469" fmla="*/ 969955 h 6857989"/>
              <a:gd name="connsiteX470" fmla="*/ 827206 w 9601186"/>
              <a:gd name="connsiteY470" fmla="*/ 949318 h 6857989"/>
              <a:gd name="connsiteX471" fmla="*/ 807394 w 9601186"/>
              <a:gd name="connsiteY471" fmla="*/ 935030 h 6857989"/>
              <a:gd name="connsiteX472" fmla="*/ 1126193 w 9601186"/>
              <a:gd name="connsiteY472" fmla="*/ 928613 h 6857989"/>
              <a:gd name="connsiteX473" fmla="*/ 1106415 w 9601186"/>
              <a:gd name="connsiteY473" fmla="*/ 942279 h 6857989"/>
              <a:gd name="connsiteX474" fmla="*/ 1120108 w 9601186"/>
              <a:gd name="connsiteY474" fmla="*/ 960501 h 6857989"/>
              <a:gd name="connsiteX475" fmla="*/ 1139886 w 9601186"/>
              <a:gd name="connsiteY475" fmla="*/ 946835 h 6857989"/>
              <a:gd name="connsiteX476" fmla="*/ 1126193 w 9601186"/>
              <a:gd name="connsiteY476" fmla="*/ 928613 h 6857989"/>
              <a:gd name="connsiteX477" fmla="*/ 840574 w 9601186"/>
              <a:gd name="connsiteY477" fmla="*/ 908044 h 6857989"/>
              <a:gd name="connsiteX478" fmla="*/ 827080 w 9601186"/>
              <a:gd name="connsiteY478" fmla="*/ 921491 h 6857989"/>
              <a:gd name="connsiteX479" fmla="*/ 840574 w 9601186"/>
              <a:gd name="connsiteY479" fmla="*/ 933444 h 6857989"/>
              <a:gd name="connsiteX480" fmla="*/ 854068 w 9601186"/>
              <a:gd name="connsiteY480" fmla="*/ 919997 h 6857989"/>
              <a:gd name="connsiteX481" fmla="*/ 840574 w 9601186"/>
              <a:gd name="connsiteY481" fmla="*/ 908044 h 6857989"/>
              <a:gd name="connsiteX482" fmla="*/ 740295 w 9601186"/>
              <a:gd name="connsiteY482" fmla="*/ 904758 h 6857989"/>
              <a:gd name="connsiteX483" fmla="*/ 714207 w 9601186"/>
              <a:gd name="connsiteY483" fmla="*/ 917020 h 6857989"/>
              <a:gd name="connsiteX484" fmla="*/ 724949 w 9601186"/>
              <a:gd name="connsiteY484" fmla="*/ 941544 h 6857989"/>
              <a:gd name="connsiteX485" fmla="*/ 751037 w 9601186"/>
              <a:gd name="connsiteY485" fmla="*/ 930815 h 6857989"/>
              <a:gd name="connsiteX486" fmla="*/ 740295 w 9601186"/>
              <a:gd name="connsiteY486" fmla="*/ 904758 h 6857989"/>
              <a:gd name="connsiteX487" fmla="*/ 1088271 w 9601186"/>
              <a:gd name="connsiteY487" fmla="*/ 901694 h 6857989"/>
              <a:gd name="connsiteX488" fmla="*/ 1076318 w 9601186"/>
              <a:gd name="connsiteY488" fmla="*/ 914394 h 6857989"/>
              <a:gd name="connsiteX489" fmla="*/ 1089765 w 9601186"/>
              <a:gd name="connsiteY489" fmla="*/ 928682 h 6857989"/>
              <a:gd name="connsiteX490" fmla="*/ 1101719 w 9601186"/>
              <a:gd name="connsiteY490" fmla="*/ 914394 h 6857989"/>
              <a:gd name="connsiteX491" fmla="*/ 1088271 w 9601186"/>
              <a:gd name="connsiteY491" fmla="*/ 901694 h 6857989"/>
              <a:gd name="connsiteX492" fmla="*/ 555303 w 9601186"/>
              <a:gd name="connsiteY492" fmla="*/ 893840 h 6857989"/>
              <a:gd name="connsiteX493" fmla="*/ 527615 w 9601186"/>
              <a:gd name="connsiteY493" fmla="*/ 894986 h 6857989"/>
              <a:gd name="connsiteX494" fmla="*/ 509284 w 9601186"/>
              <a:gd name="connsiteY494" fmla="*/ 940814 h 6857989"/>
              <a:gd name="connsiteX495" fmla="*/ 556639 w 9601186"/>
              <a:gd name="connsiteY495" fmla="*/ 959145 h 6857989"/>
              <a:gd name="connsiteX496" fmla="*/ 574971 w 9601186"/>
              <a:gd name="connsiteY496" fmla="*/ 913317 h 6857989"/>
              <a:gd name="connsiteX497" fmla="*/ 555303 w 9601186"/>
              <a:gd name="connsiteY497" fmla="*/ 893840 h 6857989"/>
              <a:gd name="connsiteX498" fmla="*/ 1191712 w 9601186"/>
              <a:gd name="connsiteY498" fmla="*/ 891621 h 6857989"/>
              <a:gd name="connsiteX499" fmla="*/ 1180982 w 9601186"/>
              <a:gd name="connsiteY499" fmla="*/ 902733 h 6857989"/>
              <a:gd name="connsiteX500" fmla="*/ 1193244 w 9601186"/>
              <a:gd name="connsiteY500" fmla="*/ 928790 h 6857989"/>
              <a:gd name="connsiteX501" fmla="*/ 1219301 w 9601186"/>
              <a:gd name="connsiteY501" fmla="*/ 916528 h 6857989"/>
              <a:gd name="connsiteX502" fmla="*/ 1207039 w 9601186"/>
              <a:gd name="connsiteY502" fmla="*/ 892004 h 6857989"/>
              <a:gd name="connsiteX503" fmla="*/ 1191712 w 9601186"/>
              <a:gd name="connsiteY503" fmla="*/ 891621 h 6857989"/>
              <a:gd name="connsiteX504" fmla="*/ 1370577 w 9601186"/>
              <a:gd name="connsiteY504" fmla="*/ 883933 h 6857989"/>
              <a:gd name="connsiteX505" fmla="*/ 1352246 w 9601186"/>
              <a:gd name="connsiteY505" fmla="*/ 931289 h 6857989"/>
              <a:gd name="connsiteX506" fmla="*/ 1398074 w 9601186"/>
              <a:gd name="connsiteY506" fmla="*/ 949620 h 6857989"/>
              <a:gd name="connsiteX507" fmla="*/ 1417934 w 9601186"/>
              <a:gd name="connsiteY507" fmla="*/ 903792 h 6857989"/>
              <a:gd name="connsiteX508" fmla="*/ 1370577 w 9601186"/>
              <a:gd name="connsiteY508" fmla="*/ 883933 h 6857989"/>
              <a:gd name="connsiteX509" fmla="*/ 811869 w 9601186"/>
              <a:gd name="connsiteY509" fmla="*/ 874638 h 6857989"/>
              <a:gd name="connsiteX510" fmla="*/ 792091 w 9601186"/>
              <a:gd name="connsiteY510" fmla="*/ 888304 h 6857989"/>
              <a:gd name="connsiteX511" fmla="*/ 805783 w 9601186"/>
              <a:gd name="connsiteY511" fmla="*/ 906526 h 6857989"/>
              <a:gd name="connsiteX512" fmla="*/ 825561 w 9601186"/>
              <a:gd name="connsiteY512" fmla="*/ 892860 h 6857989"/>
              <a:gd name="connsiteX513" fmla="*/ 811869 w 9601186"/>
              <a:gd name="connsiteY513" fmla="*/ 874638 h 6857989"/>
              <a:gd name="connsiteX514" fmla="*/ 1118519 w 9601186"/>
              <a:gd name="connsiteY514" fmla="*/ 865114 h 6857989"/>
              <a:gd name="connsiteX515" fmla="*/ 1104825 w 9601186"/>
              <a:gd name="connsiteY515" fmla="*/ 884892 h 6857989"/>
              <a:gd name="connsiteX516" fmla="*/ 1126124 w 9601186"/>
              <a:gd name="connsiteY516" fmla="*/ 897063 h 6857989"/>
              <a:gd name="connsiteX517" fmla="*/ 1138295 w 9601186"/>
              <a:gd name="connsiteY517" fmla="*/ 877285 h 6857989"/>
              <a:gd name="connsiteX518" fmla="*/ 1118519 w 9601186"/>
              <a:gd name="connsiteY518" fmla="*/ 865114 h 6857989"/>
              <a:gd name="connsiteX519" fmla="*/ 781073 w 9601186"/>
              <a:gd name="connsiteY519" fmla="*/ 830188 h 6857989"/>
              <a:gd name="connsiteX520" fmla="*/ 769662 w 9601186"/>
              <a:gd name="connsiteY520" fmla="*/ 834752 h 6857989"/>
              <a:gd name="connsiteX521" fmla="*/ 769662 w 9601186"/>
              <a:gd name="connsiteY521" fmla="*/ 859094 h 6857989"/>
              <a:gd name="connsiteX522" fmla="*/ 794004 w 9601186"/>
              <a:gd name="connsiteY522" fmla="*/ 857573 h 6857989"/>
              <a:gd name="connsiteX523" fmla="*/ 792483 w 9601186"/>
              <a:gd name="connsiteY523" fmla="*/ 834752 h 6857989"/>
              <a:gd name="connsiteX524" fmla="*/ 781073 w 9601186"/>
              <a:gd name="connsiteY524" fmla="*/ 830188 h 6857989"/>
              <a:gd name="connsiteX525" fmla="*/ 865181 w 9601186"/>
              <a:gd name="connsiteY525" fmla="*/ 822069 h 6857989"/>
              <a:gd name="connsiteX526" fmla="*/ 865181 w 9601186"/>
              <a:gd name="connsiteY526" fmla="*/ 841620 h 6857989"/>
              <a:gd name="connsiteX527" fmla="*/ 885819 w 9601186"/>
              <a:gd name="connsiteY527" fmla="*/ 840116 h 6857989"/>
              <a:gd name="connsiteX528" fmla="*/ 884231 w 9601186"/>
              <a:gd name="connsiteY528" fmla="*/ 822069 h 6857989"/>
              <a:gd name="connsiteX529" fmla="*/ 865181 w 9601186"/>
              <a:gd name="connsiteY529" fmla="*/ 822069 h 6857989"/>
              <a:gd name="connsiteX530" fmla="*/ 1148547 w 9601186"/>
              <a:gd name="connsiteY530" fmla="*/ 819142 h 6857989"/>
              <a:gd name="connsiteX531" fmla="*/ 1131877 w 9601186"/>
              <a:gd name="connsiteY531" fmla="*/ 835811 h 6857989"/>
              <a:gd name="connsiteX532" fmla="*/ 1148547 w 9601186"/>
              <a:gd name="connsiteY532" fmla="*/ 852480 h 6857989"/>
              <a:gd name="connsiteX533" fmla="*/ 1165215 w 9601186"/>
              <a:gd name="connsiteY533" fmla="*/ 834295 h 6857989"/>
              <a:gd name="connsiteX534" fmla="*/ 1148547 w 9601186"/>
              <a:gd name="connsiteY534" fmla="*/ 819142 h 6857989"/>
              <a:gd name="connsiteX535" fmla="*/ 1041142 w 9601186"/>
              <a:gd name="connsiteY535" fmla="*/ 817556 h 6857989"/>
              <a:gd name="connsiteX536" fmla="*/ 1041142 w 9601186"/>
              <a:gd name="connsiteY536" fmla="*/ 838194 h 6857989"/>
              <a:gd name="connsiteX537" fmla="*/ 1060694 w 9601186"/>
              <a:gd name="connsiteY537" fmla="*/ 836606 h 6857989"/>
              <a:gd name="connsiteX538" fmla="*/ 1059189 w 9601186"/>
              <a:gd name="connsiteY538" fmla="*/ 817556 h 6857989"/>
              <a:gd name="connsiteX539" fmla="*/ 1041142 w 9601186"/>
              <a:gd name="connsiteY539" fmla="*/ 817556 h 6857989"/>
              <a:gd name="connsiteX540" fmla="*/ 623501 w 9601186"/>
              <a:gd name="connsiteY540" fmla="*/ 815844 h 6857989"/>
              <a:gd name="connsiteX541" fmla="*/ 580829 w 9601186"/>
              <a:gd name="connsiteY541" fmla="*/ 877650 h 6857989"/>
              <a:gd name="connsiteX542" fmla="*/ 641789 w 9601186"/>
              <a:gd name="connsiteY542" fmla="*/ 920915 h 6857989"/>
              <a:gd name="connsiteX543" fmla="*/ 685985 w 9601186"/>
              <a:gd name="connsiteY543" fmla="*/ 859108 h 6857989"/>
              <a:gd name="connsiteX544" fmla="*/ 623501 w 9601186"/>
              <a:gd name="connsiteY544" fmla="*/ 815844 h 6857989"/>
              <a:gd name="connsiteX545" fmla="*/ 1287764 w 9601186"/>
              <a:gd name="connsiteY545" fmla="*/ 815786 h 6857989"/>
              <a:gd name="connsiteX546" fmla="*/ 1260288 w 9601186"/>
              <a:gd name="connsiteY546" fmla="*/ 858493 h 6857989"/>
              <a:gd name="connsiteX547" fmla="*/ 1303030 w 9601186"/>
              <a:gd name="connsiteY547" fmla="*/ 885947 h 6857989"/>
              <a:gd name="connsiteX548" fmla="*/ 1330505 w 9601186"/>
              <a:gd name="connsiteY548" fmla="*/ 843240 h 6857989"/>
              <a:gd name="connsiteX549" fmla="*/ 1287764 w 9601186"/>
              <a:gd name="connsiteY549" fmla="*/ 815786 h 6857989"/>
              <a:gd name="connsiteX550" fmla="*/ 828270 w 9601186"/>
              <a:gd name="connsiteY550" fmla="*/ 815079 h 6857989"/>
              <a:gd name="connsiteX551" fmla="*/ 817554 w 9601186"/>
              <a:gd name="connsiteY551" fmla="*/ 821937 h 6857989"/>
              <a:gd name="connsiteX552" fmla="*/ 822317 w 9601186"/>
              <a:gd name="connsiteY552" fmla="*/ 846321 h 6857989"/>
              <a:gd name="connsiteX553" fmla="*/ 846130 w 9601186"/>
              <a:gd name="connsiteY553" fmla="*/ 840225 h 6857989"/>
              <a:gd name="connsiteX554" fmla="*/ 841367 w 9601186"/>
              <a:gd name="connsiteY554" fmla="*/ 817365 h 6857989"/>
              <a:gd name="connsiteX555" fmla="*/ 828270 w 9601186"/>
              <a:gd name="connsiteY555" fmla="*/ 815079 h 6857989"/>
              <a:gd name="connsiteX556" fmla="*/ 1091572 w 9601186"/>
              <a:gd name="connsiteY556" fmla="*/ 806177 h 6857989"/>
              <a:gd name="connsiteX557" fmla="*/ 1073052 w 9601186"/>
              <a:gd name="connsiteY557" fmla="*/ 836163 h 6857989"/>
              <a:gd name="connsiteX558" fmla="*/ 1103919 w 9601186"/>
              <a:gd name="connsiteY558" fmla="*/ 852656 h 6857989"/>
              <a:gd name="connsiteX559" fmla="*/ 1122440 w 9601186"/>
              <a:gd name="connsiteY559" fmla="*/ 822669 h 6857989"/>
              <a:gd name="connsiteX560" fmla="*/ 1091572 w 9601186"/>
              <a:gd name="connsiteY560" fmla="*/ 806177 h 6857989"/>
              <a:gd name="connsiteX561" fmla="*/ 732378 w 9601186"/>
              <a:gd name="connsiteY561" fmla="*/ 798208 h 6857989"/>
              <a:gd name="connsiteX562" fmla="*/ 696756 w 9601186"/>
              <a:gd name="connsiteY562" fmla="*/ 813327 h 6857989"/>
              <a:gd name="connsiteX563" fmla="*/ 712243 w 9601186"/>
              <a:gd name="connsiteY563" fmla="*/ 849613 h 6857989"/>
              <a:gd name="connsiteX564" fmla="*/ 747865 w 9601186"/>
              <a:gd name="connsiteY564" fmla="*/ 834494 h 6857989"/>
              <a:gd name="connsiteX565" fmla="*/ 732378 w 9601186"/>
              <a:gd name="connsiteY565" fmla="*/ 798208 h 6857989"/>
              <a:gd name="connsiteX566" fmla="*/ 1220068 w 9601186"/>
              <a:gd name="connsiteY566" fmla="*/ 791285 h 6857989"/>
              <a:gd name="connsiteX567" fmla="*/ 1199090 w 9601186"/>
              <a:gd name="connsiteY567" fmla="*/ 791851 h 6857989"/>
              <a:gd name="connsiteX568" fmla="*/ 1183971 w 9601186"/>
              <a:gd name="connsiteY568" fmla="*/ 826583 h 6857989"/>
              <a:gd name="connsiteX569" fmla="*/ 1220257 w 9601186"/>
              <a:gd name="connsiteY569" fmla="*/ 841683 h 6857989"/>
              <a:gd name="connsiteX570" fmla="*/ 1235376 w 9601186"/>
              <a:gd name="connsiteY570" fmla="*/ 805442 h 6857989"/>
              <a:gd name="connsiteX571" fmla="*/ 1220068 w 9601186"/>
              <a:gd name="connsiteY571" fmla="*/ 791285 h 6857989"/>
              <a:gd name="connsiteX572" fmla="*/ 961271 w 9601186"/>
              <a:gd name="connsiteY572" fmla="*/ 779457 h 6857989"/>
              <a:gd name="connsiteX573" fmla="*/ 949318 w 9601186"/>
              <a:gd name="connsiteY573" fmla="*/ 792950 h 6857989"/>
              <a:gd name="connsiteX574" fmla="*/ 961271 w 9601186"/>
              <a:gd name="connsiteY574" fmla="*/ 806444 h 6857989"/>
              <a:gd name="connsiteX575" fmla="*/ 974718 w 9601186"/>
              <a:gd name="connsiteY575" fmla="*/ 792950 h 6857989"/>
              <a:gd name="connsiteX576" fmla="*/ 961271 w 9601186"/>
              <a:gd name="connsiteY576" fmla="*/ 779457 h 6857989"/>
              <a:gd name="connsiteX577" fmla="*/ 876168 w 9601186"/>
              <a:gd name="connsiteY577" fmla="*/ 769234 h 6857989"/>
              <a:gd name="connsiteX578" fmla="*/ 864738 w 9601186"/>
              <a:gd name="connsiteY578" fmla="*/ 772854 h 6857989"/>
              <a:gd name="connsiteX579" fmla="*/ 860165 w 9601186"/>
              <a:gd name="connsiteY579" fmla="*/ 795714 h 6857989"/>
              <a:gd name="connsiteX580" fmla="*/ 883025 w 9601186"/>
              <a:gd name="connsiteY580" fmla="*/ 800286 h 6857989"/>
              <a:gd name="connsiteX581" fmla="*/ 887597 w 9601186"/>
              <a:gd name="connsiteY581" fmla="*/ 775902 h 6857989"/>
              <a:gd name="connsiteX582" fmla="*/ 876168 w 9601186"/>
              <a:gd name="connsiteY582" fmla="*/ 769234 h 6857989"/>
              <a:gd name="connsiteX583" fmla="*/ 1048276 w 9601186"/>
              <a:gd name="connsiteY583" fmla="*/ 764573 h 6857989"/>
              <a:gd name="connsiteX584" fmla="*/ 1037972 w 9601186"/>
              <a:gd name="connsiteY584" fmla="*/ 773105 h 6857989"/>
              <a:gd name="connsiteX585" fmla="*/ 1042552 w 9601186"/>
              <a:gd name="connsiteY585" fmla="*/ 796918 h 6857989"/>
              <a:gd name="connsiteX586" fmla="*/ 1065449 w 9601186"/>
              <a:gd name="connsiteY586" fmla="*/ 790568 h 6857989"/>
              <a:gd name="connsiteX587" fmla="*/ 1060869 w 9601186"/>
              <a:gd name="connsiteY587" fmla="*/ 766755 h 6857989"/>
              <a:gd name="connsiteX588" fmla="*/ 1048276 w 9601186"/>
              <a:gd name="connsiteY588" fmla="*/ 764573 h 6857989"/>
              <a:gd name="connsiteX589" fmla="*/ 928018 w 9601186"/>
              <a:gd name="connsiteY589" fmla="*/ 744465 h 6857989"/>
              <a:gd name="connsiteX590" fmla="*/ 914326 w 9601186"/>
              <a:gd name="connsiteY590" fmla="*/ 765764 h 6857989"/>
              <a:gd name="connsiteX591" fmla="*/ 935625 w 9601186"/>
              <a:gd name="connsiteY591" fmla="*/ 777935 h 6857989"/>
              <a:gd name="connsiteX592" fmla="*/ 947796 w 9601186"/>
              <a:gd name="connsiteY592" fmla="*/ 758157 h 6857989"/>
              <a:gd name="connsiteX593" fmla="*/ 928018 w 9601186"/>
              <a:gd name="connsiteY593" fmla="*/ 744465 h 6857989"/>
              <a:gd name="connsiteX594" fmla="*/ 996944 w 9601186"/>
              <a:gd name="connsiteY594" fmla="*/ 742879 h 6857989"/>
              <a:gd name="connsiteX595" fmla="*/ 976306 w 9601186"/>
              <a:gd name="connsiteY595" fmla="*/ 756571 h 6857989"/>
              <a:gd name="connsiteX596" fmla="*/ 990593 w 9601186"/>
              <a:gd name="connsiteY596" fmla="*/ 776349 h 6857989"/>
              <a:gd name="connsiteX597" fmla="*/ 1011231 w 9601186"/>
              <a:gd name="connsiteY597" fmla="*/ 762656 h 6857989"/>
              <a:gd name="connsiteX598" fmla="*/ 996944 w 9601186"/>
              <a:gd name="connsiteY598" fmla="*/ 742879 h 6857989"/>
              <a:gd name="connsiteX599" fmla="*/ 1134589 w 9601186"/>
              <a:gd name="connsiteY599" fmla="*/ 727916 h 6857989"/>
              <a:gd name="connsiteX600" fmla="*/ 1118686 w 9601186"/>
              <a:gd name="connsiteY600" fmla="*/ 728491 h 6857989"/>
              <a:gd name="connsiteX601" fmla="*/ 1109490 w 9601186"/>
              <a:gd name="connsiteY601" fmla="*/ 754548 h 6857989"/>
              <a:gd name="connsiteX602" fmla="*/ 1135546 w 9601186"/>
              <a:gd name="connsiteY602" fmla="*/ 763744 h 6857989"/>
              <a:gd name="connsiteX603" fmla="*/ 1144743 w 9601186"/>
              <a:gd name="connsiteY603" fmla="*/ 737687 h 6857989"/>
              <a:gd name="connsiteX604" fmla="*/ 1134589 w 9601186"/>
              <a:gd name="connsiteY604" fmla="*/ 727916 h 6857989"/>
              <a:gd name="connsiteX605" fmla="*/ 790675 w 9601186"/>
              <a:gd name="connsiteY605" fmla="*/ 725442 h 6857989"/>
              <a:gd name="connsiteX606" fmla="*/ 761915 w 9601186"/>
              <a:gd name="connsiteY606" fmla="*/ 759555 h 6857989"/>
              <a:gd name="connsiteX607" fmla="*/ 795216 w 9601186"/>
              <a:gd name="connsiteY607" fmla="*/ 789016 h 6857989"/>
              <a:gd name="connsiteX608" fmla="*/ 825489 w 9601186"/>
              <a:gd name="connsiteY608" fmla="*/ 754903 h 6857989"/>
              <a:gd name="connsiteX609" fmla="*/ 790675 w 9601186"/>
              <a:gd name="connsiteY609" fmla="*/ 725442 h 6857989"/>
              <a:gd name="connsiteX610" fmla="*/ 2139294 w 9601186"/>
              <a:gd name="connsiteY610" fmla="*/ 724868 h 6857989"/>
              <a:gd name="connsiteX611" fmla="*/ 2165666 w 9601186"/>
              <a:gd name="connsiteY611" fmla="*/ 733678 h 6857989"/>
              <a:gd name="connsiteX612" fmla="*/ 2181513 w 9601186"/>
              <a:gd name="connsiteY612" fmla="*/ 755314 h 6857989"/>
              <a:gd name="connsiteX613" fmla="*/ 2186987 w 9601186"/>
              <a:gd name="connsiteY613" fmla="*/ 782584 h 6857989"/>
              <a:gd name="connsiteX614" fmla="*/ 2088597 w 9601186"/>
              <a:gd name="connsiteY614" fmla="*/ 782584 h 6857989"/>
              <a:gd name="connsiteX615" fmla="*/ 2095441 w 9601186"/>
              <a:gd name="connsiteY615" fmla="*/ 755017 h 6857989"/>
              <a:gd name="connsiteX616" fmla="*/ 2112215 w 9601186"/>
              <a:gd name="connsiteY616" fmla="*/ 733530 h 6857989"/>
              <a:gd name="connsiteX617" fmla="*/ 2139294 w 9601186"/>
              <a:gd name="connsiteY617" fmla="*/ 724868 h 6857989"/>
              <a:gd name="connsiteX618" fmla="*/ 885020 w 9601186"/>
              <a:gd name="connsiteY618" fmla="*/ 717541 h 6857989"/>
              <a:gd name="connsiteX619" fmla="*/ 868351 w 9601186"/>
              <a:gd name="connsiteY619" fmla="*/ 736591 h 6857989"/>
              <a:gd name="connsiteX620" fmla="*/ 885020 w 9601186"/>
              <a:gd name="connsiteY620" fmla="*/ 752466 h 6857989"/>
              <a:gd name="connsiteX621" fmla="*/ 901689 w 9601186"/>
              <a:gd name="connsiteY621" fmla="*/ 735004 h 6857989"/>
              <a:gd name="connsiteX622" fmla="*/ 885020 w 9601186"/>
              <a:gd name="connsiteY622" fmla="*/ 717541 h 6857989"/>
              <a:gd name="connsiteX623" fmla="*/ 1036627 w 9601186"/>
              <a:gd name="connsiteY623" fmla="*/ 714491 h 6857989"/>
              <a:gd name="connsiteX624" fmla="*/ 1025197 w 9601186"/>
              <a:gd name="connsiteY624" fmla="*/ 720387 h 6857989"/>
              <a:gd name="connsiteX625" fmla="*/ 1025197 w 9601186"/>
              <a:gd name="connsiteY625" fmla="*/ 743207 h 6857989"/>
              <a:gd name="connsiteX626" fmla="*/ 1049582 w 9601186"/>
              <a:gd name="connsiteY626" fmla="*/ 743207 h 6857989"/>
              <a:gd name="connsiteX627" fmla="*/ 1048057 w 9601186"/>
              <a:gd name="connsiteY627" fmla="*/ 718865 h 6857989"/>
              <a:gd name="connsiteX628" fmla="*/ 1036627 w 9601186"/>
              <a:gd name="connsiteY628" fmla="*/ 714491 h 6857989"/>
              <a:gd name="connsiteX629" fmla="*/ 2544910 w 9601186"/>
              <a:gd name="connsiteY629" fmla="*/ 710240 h 6857989"/>
              <a:gd name="connsiteX630" fmla="*/ 2544910 w 9601186"/>
              <a:gd name="connsiteY630" fmla="*/ 729868 h 6857989"/>
              <a:gd name="connsiteX631" fmla="*/ 2572579 w 9601186"/>
              <a:gd name="connsiteY631" fmla="*/ 729868 h 6857989"/>
              <a:gd name="connsiteX632" fmla="*/ 2572579 w 9601186"/>
              <a:gd name="connsiteY632" fmla="*/ 863259 h 6857989"/>
              <a:gd name="connsiteX633" fmla="*/ 2544576 w 9601186"/>
              <a:gd name="connsiteY633" fmla="*/ 863259 h 6857989"/>
              <a:gd name="connsiteX634" fmla="*/ 2544576 w 9601186"/>
              <a:gd name="connsiteY634" fmla="*/ 884220 h 6857989"/>
              <a:gd name="connsiteX635" fmla="*/ 2626544 w 9601186"/>
              <a:gd name="connsiteY635" fmla="*/ 884220 h 6857989"/>
              <a:gd name="connsiteX636" fmla="*/ 2626544 w 9601186"/>
              <a:gd name="connsiteY636" fmla="*/ 863259 h 6857989"/>
              <a:gd name="connsiteX637" fmla="*/ 2599540 w 9601186"/>
              <a:gd name="connsiteY637" fmla="*/ 863259 h 6857989"/>
              <a:gd name="connsiteX638" fmla="*/ 2599540 w 9601186"/>
              <a:gd name="connsiteY638" fmla="*/ 710240 h 6857989"/>
              <a:gd name="connsiteX639" fmla="*/ 1858952 w 9601186"/>
              <a:gd name="connsiteY639" fmla="*/ 708015 h 6857989"/>
              <a:gd name="connsiteX640" fmla="*/ 1858952 w 9601186"/>
              <a:gd name="connsiteY640" fmla="*/ 727065 h 6857989"/>
              <a:gd name="connsiteX641" fmla="*/ 1876413 w 9601186"/>
              <a:gd name="connsiteY641" fmla="*/ 727065 h 6857989"/>
              <a:gd name="connsiteX642" fmla="*/ 1930389 w 9601186"/>
              <a:gd name="connsiteY642" fmla="*/ 884228 h 6857989"/>
              <a:gd name="connsiteX643" fmla="*/ 1965315 w 9601186"/>
              <a:gd name="connsiteY643" fmla="*/ 884228 h 6857989"/>
              <a:gd name="connsiteX644" fmla="*/ 2019290 w 9601186"/>
              <a:gd name="connsiteY644" fmla="*/ 727065 h 6857989"/>
              <a:gd name="connsiteX645" fmla="*/ 2038340 w 9601186"/>
              <a:gd name="connsiteY645" fmla="*/ 727065 h 6857989"/>
              <a:gd name="connsiteX646" fmla="*/ 2038340 w 9601186"/>
              <a:gd name="connsiteY646" fmla="*/ 708015 h 6857989"/>
              <a:gd name="connsiteX647" fmla="*/ 1963727 w 9601186"/>
              <a:gd name="connsiteY647" fmla="*/ 708015 h 6857989"/>
              <a:gd name="connsiteX648" fmla="*/ 1963727 w 9601186"/>
              <a:gd name="connsiteY648" fmla="*/ 727065 h 6857989"/>
              <a:gd name="connsiteX649" fmla="*/ 1992303 w 9601186"/>
              <a:gd name="connsiteY649" fmla="*/ 727065 h 6857989"/>
              <a:gd name="connsiteX650" fmla="*/ 1951028 w 9601186"/>
              <a:gd name="connsiteY650" fmla="*/ 860415 h 6857989"/>
              <a:gd name="connsiteX651" fmla="*/ 1947851 w 9601186"/>
              <a:gd name="connsiteY651" fmla="*/ 860415 h 6857989"/>
              <a:gd name="connsiteX652" fmla="*/ 1906577 w 9601186"/>
              <a:gd name="connsiteY652" fmla="*/ 727065 h 6857989"/>
              <a:gd name="connsiteX653" fmla="*/ 1935152 w 9601186"/>
              <a:gd name="connsiteY653" fmla="*/ 727065 h 6857989"/>
              <a:gd name="connsiteX654" fmla="*/ 1935152 w 9601186"/>
              <a:gd name="connsiteY654" fmla="*/ 708015 h 6857989"/>
              <a:gd name="connsiteX655" fmla="*/ 2762239 w 9601186"/>
              <a:gd name="connsiteY655" fmla="*/ 708014 h 6857989"/>
              <a:gd name="connsiteX656" fmla="*/ 2762239 w 9601186"/>
              <a:gd name="connsiteY656" fmla="*/ 727848 h 6857989"/>
              <a:gd name="connsiteX657" fmla="*/ 2778956 w 9601186"/>
              <a:gd name="connsiteY657" fmla="*/ 727848 h 6857989"/>
              <a:gd name="connsiteX658" fmla="*/ 2838222 w 9601186"/>
              <a:gd name="connsiteY658" fmla="*/ 884989 h 6857989"/>
              <a:gd name="connsiteX659" fmla="*/ 2809349 w 9601186"/>
              <a:gd name="connsiteY659" fmla="*/ 920079 h 6857989"/>
              <a:gd name="connsiteX660" fmla="*/ 2789593 w 9601186"/>
              <a:gd name="connsiteY660" fmla="*/ 918554 h 6857989"/>
              <a:gd name="connsiteX661" fmla="*/ 2789593 w 9601186"/>
              <a:gd name="connsiteY661" fmla="*/ 939913 h 6857989"/>
              <a:gd name="connsiteX662" fmla="*/ 2810868 w 9601186"/>
              <a:gd name="connsiteY662" fmla="*/ 942964 h 6857989"/>
              <a:gd name="connsiteX663" fmla="*/ 2836704 w 9601186"/>
              <a:gd name="connsiteY663" fmla="*/ 935336 h 6857989"/>
              <a:gd name="connsiteX664" fmla="*/ 2854939 w 9601186"/>
              <a:gd name="connsiteY664" fmla="*/ 912451 h 6857989"/>
              <a:gd name="connsiteX665" fmla="*/ 2865576 w 9601186"/>
              <a:gd name="connsiteY665" fmla="*/ 884989 h 6857989"/>
              <a:gd name="connsiteX666" fmla="*/ 2923323 w 9601186"/>
              <a:gd name="connsiteY666" fmla="*/ 727848 h 6857989"/>
              <a:gd name="connsiteX667" fmla="*/ 2940039 w 9601186"/>
              <a:gd name="connsiteY667" fmla="*/ 727848 h 6857989"/>
              <a:gd name="connsiteX668" fmla="*/ 2940039 w 9601186"/>
              <a:gd name="connsiteY668" fmla="*/ 708014 h 6857989"/>
              <a:gd name="connsiteX669" fmla="*/ 2867096 w 9601186"/>
              <a:gd name="connsiteY669" fmla="*/ 708014 h 6857989"/>
              <a:gd name="connsiteX670" fmla="*/ 2867096 w 9601186"/>
              <a:gd name="connsiteY670" fmla="*/ 727848 h 6857989"/>
              <a:gd name="connsiteX671" fmla="*/ 2894450 w 9601186"/>
              <a:gd name="connsiteY671" fmla="*/ 727848 h 6857989"/>
              <a:gd name="connsiteX672" fmla="*/ 2853419 w 9601186"/>
              <a:gd name="connsiteY672" fmla="*/ 851425 h 6857989"/>
              <a:gd name="connsiteX673" fmla="*/ 2810868 w 9601186"/>
              <a:gd name="connsiteY673" fmla="*/ 727848 h 6857989"/>
              <a:gd name="connsiteX674" fmla="*/ 2838222 w 9601186"/>
              <a:gd name="connsiteY674" fmla="*/ 727848 h 6857989"/>
              <a:gd name="connsiteX675" fmla="*/ 2838222 w 9601186"/>
              <a:gd name="connsiteY675" fmla="*/ 708014 h 6857989"/>
              <a:gd name="connsiteX676" fmla="*/ 2762239 w 9601186"/>
              <a:gd name="connsiteY676" fmla="*/ 708014 h 6857989"/>
              <a:gd name="connsiteX677" fmla="*/ 1766822 w 9601186"/>
              <a:gd name="connsiteY677" fmla="*/ 707860 h 6857989"/>
              <a:gd name="connsiteX678" fmla="*/ 1766822 w 9601186"/>
              <a:gd name="connsiteY678" fmla="*/ 727488 h 6857989"/>
              <a:gd name="connsiteX679" fmla="*/ 1794493 w 9601186"/>
              <a:gd name="connsiteY679" fmla="*/ 727488 h 6857989"/>
              <a:gd name="connsiteX680" fmla="*/ 1794493 w 9601186"/>
              <a:gd name="connsiteY680" fmla="*/ 860879 h 6857989"/>
              <a:gd name="connsiteX681" fmla="*/ 1766490 w 9601186"/>
              <a:gd name="connsiteY681" fmla="*/ 860879 h 6857989"/>
              <a:gd name="connsiteX682" fmla="*/ 1766490 w 9601186"/>
              <a:gd name="connsiteY682" fmla="*/ 881840 h 6857989"/>
              <a:gd name="connsiteX683" fmla="*/ 1848458 w 9601186"/>
              <a:gd name="connsiteY683" fmla="*/ 881840 h 6857989"/>
              <a:gd name="connsiteX684" fmla="*/ 1848458 w 9601186"/>
              <a:gd name="connsiteY684" fmla="*/ 860879 h 6857989"/>
              <a:gd name="connsiteX685" fmla="*/ 1821454 w 9601186"/>
              <a:gd name="connsiteY685" fmla="*/ 860879 h 6857989"/>
              <a:gd name="connsiteX686" fmla="*/ 1821454 w 9601186"/>
              <a:gd name="connsiteY686" fmla="*/ 707860 h 6857989"/>
              <a:gd name="connsiteX687" fmla="*/ 2139961 w 9601186"/>
              <a:gd name="connsiteY687" fmla="*/ 704907 h 6857989"/>
              <a:gd name="connsiteX688" fmla="*/ 2100862 w 9601186"/>
              <a:gd name="connsiteY688" fmla="*/ 714686 h 6857989"/>
              <a:gd name="connsiteX689" fmla="*/ 2072285 w 9601186"/>
              <a:gd name="connsiteY689" fmla="*/ 742216 h 6857989"/>
              <a:gd name="connsiteX690" fmla="*/ 2062298 w 9601186"/>
              <a:gd name="connsiteY690" fmla="*/ 768692 h 6857989"/>
              <a:gd name="connsiteX691" fmla="*/ 2059302 w 9601186"/>
              <a:gd name="connsiteY691" fmla="*/ 796889 h 6857989"/>
              <a:gd name="connsiteX692" fmla="*/ 2078040 w 9601186"/>
              <a:gd name="connsiteY692" fmla="*/ 861231 h 6857989"/>
              <a:gd name="connsiteX693" fmla="*/ 2139294 w 9601186"/>
              <a:gd name="connsiteY693" fmla="*/ 886555 h 6857989"/>
              <a:gd name="connsiteX694" fmla="*/ 2188051 w 9601186"/>
              <a:gd name="connsiteY694" fmla="*/ 872362 h 6857989"/>
              <a:gd name="connsiteX695" fmla="*/ 2213283 w 9601186"/>
              <a:gd name="connsiteY695" fmla="*/ 829899 h 6857989"/>
              <a:gd name="connsiteX696" fmla="*/ 2187653 w 9601186"/>
              <a:gd name="connsiteY696" fmla="*/ 829899 h 6857989"/>
              <a:gd name="connsiteX697" fmla="*/ 2172811 w 9601186"/>
              <a:gd name="connsiteY697" fmla="*/ 855836 h 6857989"/>
              <a:gd name="connsiteX698" fmla="*/ 2143961 w 9601186"/>
              <a:gd name="connsiteY698" fmla="*/ 866261 h 6857989"/>
              <a:gd name="connsiteX699" fmla="*/ 2120782 w 9601186"/>
              <a:gd name="connsiteY699" fmla="*/ 863008 h 6857989"/>
              <a:gd name="connsiteX700" fmla="*/ 2102607 w 9601186"/>
              <a:gd name="connsiteY700" fmla="*/ 849247 h 6857989"/>
              <a:gd name="connsiteX701" fmla="*/ 2091058 w 9601186"/>
              <a:gd name="connsiteY701" fmla="*/ 827272 h 6857989"/>
              <a:gd name="connsiteX702" fmla="*/ 2087266 w 9601186"/>
              <a:gd name="connsiteY702" fmla="*/ 802544 h 6857989"/>
              <a:gd name="connsiteX703" fmla="*/ 2215613 w 9601186"/>
              <a:gd name="connsiteY703" fmla="*/ 802544 h 6857989"/>
              <a:gd name="connsiteX704" fmla="*/ 2215613 w 9601186"/>
              <a:gd name="connsiteY704" fmla="*/ 797887 h 6857989"/>
              <a:gd name="connsiteX705" fmla="*/ 2214783 w 9601186"/>
              <a:gd name="connsiteY705" fmla="*/ 780449 h 6857989"/>
              <a:gd name="connsiteX706" fmla="*/ 2211953 w 9601186"/>
              <a:gd name="connsiteY706" fmla="*/ 763234 h 6857989"/>
              <a:gd name="connsiteX707" fmla="*/ 2203505 w 9601186"/>
              <a:gd name="connsiteY707" fmla="*/ 739716 h 6857989"/>
              <a:gd name="connsiteX708" fmla="*/ 2187318 w 9601186"/>
              <a:gd name="connsiteY708" fmla="*/ 720211 h 6857989"/>
              <a:gd name="connsiteX709" fmla="*/ 2165014 w 9601186"/>
              <a:gd name="connsiteY709" fmla="*/ 708816 h 6857989"/>
              <a:gd name="connsiteX710" fmla="*/ 2139961 w 9601186"/>
              <a:gd name="connsiteY710" fmla="*/ 704907 h 6857989"/>
              <a:gd name="connsiteX711" fmla="*/ 2349805 w 9601186"/>
              <a:gd name="connsiteY711" fmla="*/ 704839 h 6857989"/>
              <a:gd name="connsiteX712" fmla="*/ 2296435 w 9601186"/>
              <a:gd name="connsiteY712" fmla="*/ 743170 h 6857989"/>
              <a:gd name="connsiteX713" fmla="*/ 2296435 w 9601186"/>
              <a:gd name="connsiteY713" fmla="*/ 707906 h 6857989"/>
              <a:gd name="connsiteX714" fmla="*/ 2241541 w 9601186"/>
              <a:gd name="connsiteY714" fmla="*/ 707906 h 6857989"/>
              <a:gd name="connsiteX715" fmla="*/ 2241541 w 9601186"/>
              <a:gd name="connsiteY715" fmla="*/ 727838 h 6857989"/>
              <a:gd name="connsiteX716" fmla="*/ 2268988 w 9601186"/>
              <a:gd name="connsiteY716" fmla="*/ 727838 h 6857989"/>
              <a:gd name="connsiteX717" fmla="*/ 2268988 w 9601186"/>
              <a:gd name="connsiteY717" fmla="*/ 862762 h 6857989"/>
              <a:gd name="connsiteX718" fmla="*/ 2241541 w 9601186"/>
              <a:gd name="connsiteY718" fmla="*/ 862762 h 6857989"/>
              <a:gd name="connsiteX719" fmla="*/ 2241541 w 9601186"/>
              <a:gd name="connsiteY719" fmla="*/ 884227 h 6857989"/>
              <a:gd name="connsiteX720" fmla="*/ 2329982 w 9601186"/>
              <a:gd name="connsiteY720" fmla="*/ 884227 h 6857989"/>
              <a:gd name="connsiteX721" fmla="*/ 2329982 w 9601186"/>
              <a:gd name="connsiteY721" fmla="*/ 862762 h 6857989"/>
              <a:gd name="connsiteX722" fmla="*/ 2296435 w 9601186"/>
              <a:gd name="connsiteY722" fmla="*/ 862762 h 6857989"/>
              <a:gd name="connsiteX723" fmla="*/ 2296435 w 9601186"/>
              <a:gd name="connsiteY723" fmla="*/ 795300 h 6857989"/>
              <a:gd name="connsiteX724" fmla="*/ 2346754 w 9601186"/>
              <a:gd name="connsiteY724" fmla="*/ 729371 h 6857989"/>
              <a:gd name="connsiteX725" fmla="*/ 2357429 w 9601186"/>
              <a:gd name="connsiteY725" fmla="*/ 729371 h 6857989"/>
              <a:gd name="connsiteX726" fmla="*/ 2357429 w 9601186"/>
              <a:gd name="connsiteY726" fmla="*/ 704839 h 6857989"/>
              <a:gd name="connsiteX727" fmla="*/ 2349805 w 9601186"/>
              <a:gd name="connsiteY727" fmla="*/ 704839 h 6857989"/>
              <a:gd name="connsiteX728" fmla="*/ 673175 w 9601186"/>
              <a:gd name="connsiteY728" fmla="*/ 702447 h 6857989"/>
              <a:gd name="connsiteX729" fmla="*/ 650452 w 9601186"/>
              <a:gd name="connsiteY729" fmla="*/ 716769 h 6857989"/>
              <a:gd name="connsiteX730" fmla="*/ 661146 w 9601186"/>
              <a:gd name="connsiteY730" fmla="*/ 767179 h 6857989"/>
              <a:gd name="connsiteX731" fmla="*/ 710029 w 9601186"/>
              <a:gd name="connsiteY731" fmla="*/ 756486 h 6857989"/>
              <a:gd name="connsiteX732" fmla="*/ 699336 w 9601186"/>
              <a:gd name="connsiteY732" fmla="*/ 707603 h 6857989"/>
              <a:gd name="connsiteX733" fmla="*/ 673175 w 9601186"/>
              <a:gd name="connsiteY733" fmla="*/ 702447 h 6857989"/>
              <a:gd name="connsiteX734" fmla="*/ 2444029 w 9601186"/>
              <a:gd name="connsiteY734" fmla="*/ 701664 h 6857989"/>
              <a:gd name="connsiteX735" fmla="*/ 2390381 w 9601186"/>
              <a:gd name="connsiteY735" fmla="*/ 724690 h 6857989"/>
              <a:gd name="connsiteX736" fmla="*/ 2381186 w 9601186"/>
              <a:gd name="connsiteY736" fmla="*/ 755390 h 6857989"/>
              <a:gd name="connsiteX737" fmla="*/ 2437897 w 9601186"/>
              <a:gd name="connsiteY737" fmla="*/ 804511 h 6857989"/>
              <a:gd name="connsiteX738" fmla="*/ 2483880 w 9601186"/>
              <a:gd name="connsiteY738" fmla="*/ 833677 h 6857989"/>
              <a:gd name="connsiteX739" fmla="*/ 2448627 w 9601186"/>
              <a:gd name="connsiteY739" fmla="*/ 865912 h 6857989"/>
              <a:gd name="connsiteX740" fmla="*/ 2416438 w 9601186"/>
              <a:gd name="connsiteY740" fmla="*/ 856702 h 6857989"/>
              <a:gd name="connsiteX741" fmla="*/ 2401111 w 9601186"/>
              <a:gd name="connsiteY741" fmla="*/ 824466 h 6857989"/>
              <a:gd name="connsiteX742" fmla="*/ 2379652 w 9601186"/>
              <a:gd name="connsiteY742" fmla="*/ 824466 h 6857989"/>
              <a:gd name="connsiteX743" fmla="*/ 2379652 w 9601186"/>
              <a:gd name="connsiteY743" fmla="*/ 884332 h 6857989"/>
              <a:gd name="connsiteX744" fmla="*/ 2401111 w 9601186"/>
              <a:gd name="connsiteY744" fmla="*/ 884332 h 6857989"/>
              <a:gd name="connsiteX745" fmla="*/ 2401111 w 9601186"/>
              <a:gd name="connsiteY745" fmla="*/ 856702 h 6857989"/>
              <a:gd name="connsiteX746" fmla="*/ 2454758 w 9601186"/>
              <a:gd name="connsiteY746" fmla="*/ 887402 h 6857989"/>
              <a:gd name="connsiteX747" fmla="*/ 2508404 w 9601186"/>
              <a:gd name="connsiteY747" fmla="*/ 856702 h 6857989"/>
              <a:gd name="connsiteX748" fmla="*/ 2513002 w 9601186"/>
              <a:gd name="connsiteY748" fmla="*/ 830606 h 6857989"/>
              <a:gd name="connsiteX749" fmla="*/ 2450159 w 9601186"/>
              <a:gd name="connsiteY749" fmla="*/ 779951 h 6857989"/>
              <a:gd name="connsiteX750" fmla="*/ 2416438 w 9601186"/>
              <a:gd name="connsiteY750" fmla="*/ 770741 h 6857989"/>
              <a:gd name="connsiteX751" fmla="*/ 2408775 w 9601186"/>
              <a:gd name="connsiteY751" fmla="*/ 753855 h 6857989"/>
              <a:gd name="connsiteX752" fmla="*/ 2447094 w 9601186"/>
              <a:gd name="connsiteY752" fmla="*/ 723155 h 6857989"/>
              <a:gd name="connsiteX753" fmla="*/ 2463954 w 9601186"/>
              <a:gd name="connsiteY753" fmla="*/ 726225 h 6857989"/>
              <a:gd name="connsiteX754" fmla="*/ 2488478 w 9601186"/>
              <a:gd name="connsiteY754" fmla="*/ 764600 h 6857989"/>
              <a:gd name="connsiteX755" fmla="*/ 2509938 w 9601186"/>
              <a:gd name="connsiteY755" fmla="*/ 764600 h 6857989"/>
              <a:gd name="connsiteX756" fmla="*/ 2509938 w 9601186"/>
              <a:gd name="connsiteY756" fmla="*/ 707805 h 6857989"/>
              <a:gd name="connsiteX757" fmla="*/ 2488478 w 9601186"/>
              <a:gd name="connsiteY757" fmla="*/ 707805 h 6857989"/>
              <a:gd name="connsiteX758" fmla="*/ 2488478 w 9601186"/>
              <a:gd name="connsiteY758" fmla="*/ 724690 h 6857989"/>
              <a:gd name="connsiteX759" fmla="*/ 2444029 w 9601186"/>
              <a:gd name="connsiteY759" fmla="*/ 701664 h 6857989"/>
              <a:gd name="connsiteX760" fmla="*/ 501676 w 9601186"/>
              <a:gd name="connsiteY760" fmla="*/ 695322 h 6857989"/>
              <a:gd name="connsiteX761" fmla="*/ 460372 w 9601186"/>
              <a:gd name="connsiteY761" fmla="*/ 738155 h 6857989"/>
              <a:gd name="connsiteX762" fmla="*/ 503206 w 9601186"/>
              <a:gd name="connsiteY762" fmla="*/ 779459 h 6857989"/>
              <a:gd name="connsiteX763" fmla="*/ 544510 w 9601186"/>
              <a:gd name="connsiteY763" fmla="*/ 736626 h 6857989"/>
              <a:gd name="connsiteX764" fmla="*/ 501676 w 9601186"/>
              <a:gd name="connsiteY764" fmla="*/ 695322 h 6857989"/>
              <a:gd name="connsiteX765" fmla="*/ 1249283 w 9601186"/>
              <a:gd name="connsiteY765" fmla="*/ 693938 h 6857989"/>
              <a:gd name="connsiteX766" fmla="*/ 1223123 w 9601186"/>
              <a:gd name="connsiteY766" fmla="*/ 699667 h 6857989"/>
              <a:gd name="connsiteX767" fmla="*/ 1213957 w 9601186"/>
              <a:gd name="connsiteY767" fmla="*/ 750078 h 6857989"/>
              <a:gd name="connsiteX768" fmla="*/ 1262841 w 9601186"/>
              <a:gd name="connsiteY768" fmla="*/ 759243 h 6857989"/>
              <a:gd name="connsiteX769" fmla="*/ 1272007 w 9601186"/>
              <a:gd name="connsiteY769" fmla="*/ 708832 h 6857989"/>
              <a:gd name="connsiteX770" fmla="*/ 1249283 w 9601186"/>
              <a:gd name="connsiteY770" fmla="*/ 693938 h 6857989"/>
              <a:gd name="connsiteX771" fmla="*/ 1419262 w 9601186"/>
              <a:gd name="connsiteY771" fmla="*/ 682658 h 6857989"/>
              <a:gd name="connsiteX772" fmla="*/ 1389853 w 9601186"/>
              <a:gd name="connsiteY772" fmla="*/ 694749 h 6857989"/>
              <a:gd name="connsiteX773" fmla="*/ 1391361 w 9601186"/>
              <a:gd name="connsiteY773" fmla="*/ 754632 h 6857989"/>
              <a:gd name="connsiteX774" fmla="*/ 1448671 w 9601186"/>
              <a:gd name="connsiteY774" fmla="*/ 753097 h 6857989"/>
              <a:gd name="connsiteX775" fmla="*/ 1448671 w 9601186"/>
              <a:gd name="connsiteY775" fmla="*/ 694749 h 6857989"/>
              <a:gd name="connsiteX776" fmla="*/ 1419262 w 9601186"/>
              <a:gd name="connsiteY776" fmla="*/ 682658 h 6857989"/>
              <a:gd name="connsiteX777" fmla="*/ 1583259 w 9601186"/>
              <a:gd name="connsiteY777" fmla="*/ 665147 h 6857989"/>
              <a:gd name="connsiteX778" fmla="*/ 1615942 w 9601186"/>
              <a:gd name="connsiteY778" fmla="*/ 665147 h 6857989"/>
              <a:gd name="connsiteX779" fmla="*/ 1629281 w 9601186"/>
              <a:gd name="connsiteY779" fmla="*/ 665855 h 6857989"/>
              <a:gd name="connsiteX780" fmla="*/ 1642621 w 9601186"/>
              <a:gd name="connsiteY780" fmla="*/ 667814 h 6857989"/>
              <a:gd name="connsiteX781" fmla="*/ 1679711 w 9601186"/>
              <a:gd name="connsiteY781" fmla="*/ 687982 h 6857989"/>
              <a:gd name="connsiteX782" fmla="*/ 1699685 w 9601186"/>
              <a:gd name="connsiteY782" fmla="*/ 723784 h 6857989"/>
              <a:gd name="connsiteX783" fmla="*/ 1705650 w 9601186"/>
              <a:gd name="connsiteY783" fmla="*/ 766181 h 6857989"/>
              <a:gd name="connsiteX784" fmla="*/ 1700022 w 9601186"/>
              <a:gd name="connsiteY784" fmla="*/ 803694 h 6857989"/>
              <a:gd name="connsiteX785" fmla="*/ 1681639 w 9601186"/>
              <a:gd name="connsiteY785" fmla="*/ 836205 h 6857989"/>
              <a:gd name="connsiteX786" fmla="*/ 1647872 w 9601186"/>
              <a:gd name="connsiteY786" fmla="*/ 855920 h 6857989"/>
              <a:gd name="connsiteX787" fmla="*/ 1608605 w 9601186"/>
              <a:gd name="connsiteY787" fmla="*/ 859879 h 6857989"/>
              <a:gd name="connsiteX788" fmla="*/ 1583259 w 9601186"/>
              <a:gd name="connsiteY788" fmla="*/ 859879 h 6857989"/>
              <a:gd name="connsiteX789" fmla="*/ 951961 w 9601186"/>
              <a:gd name="connsiteY789" fmla="*/ 664607 h 6857989"/>
              <a:gd name="connsiteX790" fmla="*/ 941219 w 9601186"/>
              <a:gd name="connsiteY790" fmla="*/ 675720 h 6857989"/>
              <a:gd name="connsiteX791" fmla="*/ 951961 w 9601186"/>
              <a:gd name="connsiteY791" fmla="*/ 701777 h 6857989"/>
              <a:gd name="connsiteX792" fmla="*/ 978050 w 9601186"/>
              <a:gd name="connsiteY792" fmla="*/ 689515 h 6857989"/>
              <a:gd name="connsiteX793" fmla="*/ 967307 w 9601186"/>
              <a:gd name="connsiteY793" fmla="*/ 664990 h 6857989"/>
              <a:gd name="connsiteX794" fmla="*/ 951961 w 9601186"/>
              <a:gd name="connsiteY794" fmla="*/ 664607 h 6857989"/>
              <a:gd name="connsiteX795" fmla="*/ 2691564 w 9601186"/>
              <a:gd name="connsiteY795" fmla="*/ 663564 h 6857989"/>
              <a:gd name="connsiteX796" fmla="*/ 2664131 w 9601186"/>
              <a:gd name="connsiteY796" fmla="*/ 672763 h 6857989"/>
              <a:gd name="connsiteX797" fmla="*/ 2664131 w 9601186"/>
              <a:gd name="connsiteY797" fmla="*/ 708025 h 6857989"/>
              <a:gd name="connsiteX798" fmla="*/ 2633652 w 9601186"/>
              <a:gd name="connsiteY798" fmla="*/ 708025 h 6857989"/>
              <a:gd name="connsiteX799" fmla="*/ 2633652 w 9601186"/>
              <a:gd name="connsiteY799" fmla="*/ 727956 h 6857989"/>
              <a:gd name="connsiteX800" fmla="*/ 2664131 w 9601186"/>
              <a:gd name="connsiteY800" fmla="*/ 727956 h 6857989"/>
              <a:gd name="connsiteX801" fmla="*/ 2664131 w 9601186"/>
              <a:gd name="connsiteY801" fmla="*/ 832209 h 6857989"/>
              <a:gd name="connsiteX802" fmla="*/ 2667180 w 9601186"/>
              <a:gd name="connsiteY802" fmla="*/ 862872 h 6857989"/>
              <a:gd name="connsiteX803" fmla="*/ 2690041 w 9601186"/>
              <a:gd name="connsiteY803" fmla="*/ 885869 h 6857989"/>
              <a:gd name="connsiteX804" fmla="*/ 2706803 w 9601186"/>
              <a:gd name="connsiteY804" fmla="*/ 887402 h 6857989"/>
              <a:gd name="connsiteX805" fmla="*/ 2725093 w 9601186"/>
              <a:gd name="connsiteY805" fmla="*/ 884336 h 6857989"/>
              <a:gd name="connsiteX806" fmla="*/ 2747952 w 9601186"/>
              <a:gd name="connsiteY806" fmla="*/ 842941 h 6857989"/>
              <a:gd name="connsiteX807" fmla="*/ 2747952 w 9601186"/>
              <a:gd name="connsiteY807" fmla="*/ 830676 h 6857989"/>
              <a:gd name="connsiteX808" fmla="*/ 2726616 w 9601186"/>
              <a:gd name="connsiteY808" fmla="*/ 830676 h 6857989"/>
              <a:gd name="connsiteX809" fmla="*/ 2708328 w 9601186"/>
              <a:gd name="connsiteY809" fmla="*/ 867471 h 6857989"/>
              <a:gd name="connsiteX810" fmla="*/ 2691564 w 9601186"/>
              <a:gd name="connsiteY810" fmla="*/ 842941 h 6857989"/>
              <a:gd name="connsiteX811" fmla="*/ 2691564 w 9601186"/>
              <a:gd name="connsiteY811" fmla="*/ 727956 h 6857989"/>
              <a:gd name="connsiteX812" fmla="*/ 2741855 w 9601186"/>
              <a:gd name="connsiteY812" fmla="*/ 727956 h 6857989"/>
              <a:gd name="connsiteX813" fmla="*/ 2741855 w 9601186"/>
              <a:gd name="connsiteY813" fmla="*/ 708025 h 6857989"/>
              <a:gd name="connsiteX814" fmla="*/ 2691564 w 9601186"/>
              <a:gd name="connsiteY814" fmla="*/ 708025 h 6857989"/>
              <a:gd name="connsiteX815" fmla="*/ 2691564 w 9601186"/>
              <a:gd name="connsiteY815" fmla="*/ 663564 h 6857989"/>
              <a:gd name="connsiteX816" fmla="*/ 872431 w 9601186"/>
              <a:gd name="connsiteY816" fmla="*/ 653312 h 6857989"/>
              <a:gd name="connsiteX817" fmla="*/ 851479 w 9601186"/>
              <a:gd name="connsiteY817" fmla="*/ 653893 h 6857989"/>
              <a:gd name="connsiteX818" fmla="*/ 837888 w 9601186"/>
              <a:gd name="connsiteY818" fmla="*/ 689514 h 6857989"/>
              <a:gd name="connsiteX819" fmla="*/ 874130 w 9601186"/>
              <a:gd name="connsiteY819" fmla="*/ 705002 h 6857989"/>
              <a:gd name="connsiteX820" fmla="*/ 887721 w 9601186"/>
              <a:gd name="connsiteY820" fmla="*/ 667832 h 6857989"/>
              <a:gd name="connsiteX821" fmla="*/ 872431 w 9601186"/>
              <a:gd name="connsiteY821" fmla="*/ 653312 h 6857989"/>
              <a:gd name="connsiteX822" fmla="*/ 1075278 w 9601186"/>
              <a:gd name="connsiteY822" fmla="*/ 649169 h 6857989"/>
              <a:gd name="connsiteX823" fmla="*/ 1038107 w 9601186"/>
              <a:gd name="connsiteY823" fmla="*/ 666206 h 6857989"/>
              <a:gd name="connsiteX824" fmla="*/ 1055144 w 9601186"/>
              <a:gd name="connsiteY824" fmla="*/ 701828 h 6857989"/>
              <a:gd name="connsiteX825" fmla="*/ 1090766 w 9601186"/>
              <a:gd name="connsiteY825" fmla="*/ 686340 h 6857989"/>
              <a:gd name="connsiteX826" fmla="*/ 1075278 w 9601186"/>
              <a:gd name="connsiteY826" fmla="*/ 649169 h 6857989"/>
              <a:gd name="connsiteX827" fmla="*/ 2570578 w 9601186"/>
              <a:gd name="connsiteY827" fmla="*/ 645565 h 6857989"/>
              <a:gd name="connsiteX828" fmla="*/ 2570578 w 9601186"/>
              <a:gd name="connsiteY828" fmla="*/ 673527 h 6857989"/>
              <a:gd name="connsiteX829" fmla="*/ 2601539 w 9601186"/>
              <a:gd name="connsiteY829" fmla="*/ 673527 h 6857989"/>
              <a:gd name="connsiteX830" fmla="*/ 2601539 w 9601186"/>
              <a:gd name="connsiteY830" fmla="*/ 645565 h 6857989"/>
              <a:gd name="connsiteX831" fmla="*/ 1792492 w 9601186"/>
              <a:gd name="connsiteY831" fmla="*/ 643185 h 6857989"/>
              <a:gd name="connsiteX832" fmla="*/ 1792492 w 9601186"/>
              <a:gd name="connsiteY832" fmla="*/ 671147 h 6857989"/>
              <a:gd name="connsiteX833" fmla="*/ 1823455 w 9601186"/>
              <a:gd name="connsiteY833" fmla="*/ 671147 h 6857989"/>
              <a:gd name="connsiteX834" fmla="*/ 1823455 w 9601186"/>
              <a:gd name="connsiteY834" fmla="*/ 643185 h 6857989"/>
              <a:gd name="connsiteX835" fmla="*/ 1520626 w 9601186"/>
              <a:gd name="connsiteY835" fmla="*/ 643185 h 6857989"/>
              <a:gd name="connsiteX836" fmla="*/ 1520626 w 9601186"/>
              <a:gd name="connsiteY836" fmla="*/ 665147 h 6857989"/>
              <a:gd name="connsiteX837" fmla="*/ 1554297 w 9601186"/>
              <a:gd name="connsiteY837" fmla="*/ 665147 h 6857989"/>
              <a:gd name="connsiteX838" fmla="*/ 1554297 w 9601186"/>
              <a:gd name="connsiteY838" fmla="*/ 859879 h 6857989"/>
              <a:gd name="connsiteX839" fmla="*/ 1520626 w 9601186"/>
              <a:gd name="connsiteY839" fmla="*/ 859879 h 6857989"/>
              <a:gd name="connsiteX840" fmla="*/ 1520626 w 9601186"/>
              <a:gd name="connsiteY840" fmla="*/ 881840 h 6857989"/>
              <a:gd name="connsiteX841" fmla="*/ 1605937 w 9601186"/>
              <a:gd name="connsiteY841" fmla="*/ 881840 h 6857989"/>
              <a:gd name="connsiteX842" fmla="*/ 1624778 w 9601186"/>
              <a:gd name="connsiteY842" fmla="*/ 881674 h 6857989"/>
              <a:gd name="connsiteX843" fmla="*/ 1643620 w 9601186"/>
              <a:gd name="connsiteY843" fmla="*/ 880509 h 6857989"/>
              <a:gd name="connsiteX844" fmla="*/ 1683179 w 9601186"/>
              <a:gd name="connsiteY844" fmla="*/ 868609 h 6857989"/>
              <a:gd name="connsiteX845" fmla="*/ 1713973 w 9601186"/>
              <a:gd name="connsiteY845" fmla="*/ 841206 h 6857989"/>
              <a:gd name="connsiteX846" fmla="*/ 1730785 w 9601186"/>
              <a:gd name="connsiteY846" fmla="*/ 802777 h 6857989"/>
              <a:gd name="connsiteX847" fmla="*/ 1735613 w 9601186"/>
              <a:gd name="connsiteY847" fmla="*/ 760846 h 6857989"/>
              <a:gd name="connsiteX848" fmla="*/ 1730785 w 9601186"/>
              <a:gd name="connsiteY848" fmla="*/ 723291 h 6857989"/>
              <a:gd name="connsiteX849" fmla="*/ 1716969 w 9601186"/>
              <a:gd name="connsiteY849" fmla="*/ 688488 h 6857989"/>
              <a:gd name="connsiteX850" fmla="*/ 1689807 w 9601186"/>
              <a:gd name="connsiteY850" fmla="*/ 660411 h 6857989"/>
              <a:gd name="connsiteX851" fmla="*/ 1653626 w 9601186"/>
              <a:gd name="connsiteY851" fmla="*/ 645847 h 6857989"/>
              <a:gd name="connsiteX852" fmla="*/ 1633450 w 9601186"/>
              <a:gd name="connsiteY852" fmla="*/ 643518 h 6857989"/>
              <a:gd name="connsiteX853" fmla="*/ 1613274 w 9601186"/>
              <a:gd name="connsiteY853" fmla="*/ 643185 h 6857989"/>
              <a:gd name="connsiteX854" fmla="*/ 777830 w 9601186"/>
              <a:gd name="connsiteY854" fmla="*/ 606626 h 6857989"/>
              <a:gd name="connsiteX855" fmla="*/ 751651 w 9601186"/>
              <a:gd name="connsiteY855" fmla="*/ 612354 h 6857989"/>
              <a:gd name="connsiteX856" fmla="*/ 742479 w 9601186"/>
              <a:gd name="connsiteY856" fmla="*/ 661238 h 6857989"/>
              <a:gd name="connsiteX857" fmla="*/ 791397 w 9601186"/>
              <a:gd name="connsiteY857" fmla="*/ 670403 h 6857989"/>
              <a:gd name="connsiteX858" fmla="*/ 800570 w 9601186"/>
              <a:gd name="connsiteY858" fmla="*/ 621520 h 6857989"/>
              <a:gd name="connsiteX859" fmla="*/ 777830 w 9601186"/>
              <a:gd name="connsiteY859" fmla="*/ 606626 h 6857989"/>
              <a:gd name="connsiteX860" fmla="*/ 1140116 w 9601186"/>
              <a:gd name="connsiteY860" fmla="*/ 601616 h 6857989"/>
              <a:gd name="connsiteX861" fmla="*/ 1117185 w 9601186"/>
              <a:gd name="connsiteY861" fmla="*/ 616712 h 6857989"/>
              <a:gd name="connsiteX862" fmla="*/ 1127887 w 9601186"/>
              <a:gd name="connsiteY862" fmla="*/ 667159 h 6857989"/>
              <a:gd name="connsiteX863" fmla="*/ 1178333 w 9601186"/>
              <a:gd name="connsiteY863" fmla="*/ 656458 h 6857989"/>
              <a:gd name="connsiteX864" fmla="*/ 1167632 w 9601186"/>
              <a:gd name="connsiteY864" fmla="*/ 606011 h 6857989"/>
              <a:gd name="connsiteX865" fmla="*/ 1140116 w 9601186"/>
              <a:gd name="connsiteY865" fmla="*/ 601616 h 6857989"/>
              <a:gd name="connsiteX866" fmla="*/ 675721 w 9601186"/>
              <a:gd name="connsiteY866" fmla="*/ 593477 h 6857989"/>
              <a:gd name="connsiteX867" fmla="*/ 629928 w 9601186"/>
              <a:gd name="connsiteY867" fmla="*/ 613320 h 6857989"/>
              <a:gd name="connsiteX868" fmla="*/ 649772 w 9601186"/>
              <a:gd name="connsiteY868" fmla="*/ 659114 h 6857989"/>
              <a:gd name="connsiteX869" fmla="*/ 695565 w 9601186"/>
              <a:gd name="connsiteY869" fmla="*/ 640796 h 6857989"/>
              <a:gd name="connsiteX870" fmla="*/ 675721 w 9601186"/>
              <a:gd name="connsiteY870" fmla="*/ 593477 h 6857989"/>
              <a:gd name="connsiteX871" fmla="*/ 1272661 w 9601186"/>
              <a:gd name="connsiteY871" fmla="*/ 587071 h 6857989"/>
              <a:gd name="connsiteX872" fmla="*/ 1226833 w 9601186"/>
              <a:gd name="connsiteY872" fmla="*/ 606930 h 6857989"/>
              <a:gd name="connsiteX873" fmla="*/ 1246692 w 9601186"/>
              <a:gd name="connsiteY873" fmla="*/ 652758 h 6857989"/>
              <a:gd name="connsiteX874" fmla="*/ 1292520 w 9601186"/>
              <a:gd name="connsiteY874" fmla="*/ 632900 h 6857989"/>
              <a:gd name="connsiteX875" fmla="*/ 1272661 w 9601186"/>
              <a:gd name="connsiteY875" fmla="*/ 587071 h 6857989"/>
              <a:gd name="connsiteX876" fmla="*/ 886757 w 9601186"/>
              <a:gd name="connsiteY876" fmla="*/ 553973 h 6857989"/>
              <a:gd name="connsiteX877" fmla="*/ 858742 w 9601186"/>
              <a:gd name="connsiteY877" fmla="*/ 597552 h 6857989"/>
              <a:gd name="connsiteX878" fmla="*/ 900764 w 9601186"/>
              <a:gd name="connsiteY878" fmla="*/ 625566 h 6857989"/>
              <a:gd name="connsiteX879" fmla="*/ 928779 w 9601186"/>
              <a:gd name="connsiteY879" fmla="*/ 581988 h 6857989"/>
              <a:gd name="connsiteX880" fmla="*/ 886757 w 9601186"/>
              <a:gd name="connsiteY880" fmla="*/ 553973 h 6857989"/>
              <a:gd name="connsiteX881" fmla="*/ 1031594 w 9601186"/>
              <a:gd name="connsiteY881" fmla="*/ 552385 h 6857989"/>
              <a:gd name="connsiteX882" fmla="*/ 990413 w 9601186"/>
              <a:gd name="connsiteY882" fmla="*/ 581945 h 6857989"/>
              <a:gd name="connsiteX883" fmla="*/ 1019392 w 9601186"/>
              <a:gd name="connsiteY883" fmla="*/ 623950 h 6857989"/>
              <a:gd name="connsiteX884" fmla="*/ 1060574 w 9601186"/>
              <a:gd name="connsiteY884" fmla="*/ 594391 h 6857989"/>
              <a:gd name="connsiteX885" fmla="*/ 1031594 w 9601186"/>
              <a:gd name="connsiteY885" fmla="*/ 552385 h 6857989"/>
              <a:gd name="connsiteX886" fmla="*/ 972814 w 9601186"/>
              <a:gd name="connsiteY886" fmla="*/ 465984 h 6857989"/>
              <a:gd name="connsiteX887" fmla="*/ 945126 w 9601186"/>
              <a:gd name="connsiteY887" fmla="*/ 466568 h 6857989"/>
              <a:gd name="connsiteX888" fmla="*/ 926795 w 9601186"/>
              <a:gd name="connsiteY888" fmla="*/ 513278 h 6857989"/>
              <a:gd name="connsiteX889" fmla="*/ 972623 w 9601186"/>
              <a:gd name="connsiteY889" fmla="*/ 531961 h 6857989"/>
              <a:gd name="connsiteX890" fmla="*/ 992482 w 9601186"/>
              <a:gd name="connsiteY890" fmla="*/ 485252 h 6857989"/>
              <a:gd name="connsiteX891" fmla="*/ 972814 w 9601186"/>
              <a:gd name="connsiteY891" fmla="*/ 465984 h 6857989"/>
              <a:gd name="connsiteX892" fmla="*/ 766987 w 9601186"/>
              <a:gd name="connsiteY892" fmla="*/ 421729 h 6857989"/>
              <a:gd name="connsiteX893" fmla="*/ 738897 w 9601186"/>
              <a:gd name="connsiteY893" fmla="*/ 434390 h 6857989"/>
              <a:gd name="connsiteX894" fmla="*/ 738897 w 9601186"/>
              <a:gd name="connsiteY894" fmla="*/ 494238 h 6857989"/>
              <a:gd name="connsiteX895" fmla="*/ 797715 w 9601186"/>
              <a:gd name="connsiteY895" fmla="*/ 492704 h 6857989"/>
              <a:gd name="connsiteX896" fmla="*/ 796207 w 9601186"/>
              <a:gd name="connsiteY896" fmla="*/ 434390 h 6857989"/>
              <a:gd name="connsiteX897" fmla="*/ 766987 w 9601186"/>
              <a:gd name="connsiteY897" fmla="*/ 421729 h 6857989"/>
              <a:gd name="connsiteX898" fmla="*/ 1157742 w 9601186"/>
              <a:gd name="connsiteY898" fmla="*/ 391629 h 6857989"/>
              <a:gd name="connsiteX899" fmla="*/ 1131310 w 9601186"/>
              <a:gd name="connsiteY899" fmla="*/ 396441 h 6857989"/>
              <a:gd name="connsiteX900" fmla="*/ 1091688 w 9601186"/>
              <a:gd name="connsiteY900" fmla="*/ 484214 h 6857989"/>
              <a:gd name="connsiteX901" fmla="*/ 1180078 w 9601186"/>
              <a:gd name="connsiteY901" fmla="*/ 522711 h 6857989"/>
              <a:gd name="connsiteX902" fmla="*/ 1218178 w 9601186"/>
              <a:gd name="connsiteY902" fmla="*/ 434938 h 6857989"/>
              <a:gd name="connsiteX903" fmla="*/ 1157742 w 9601186"/>
              <a:gd name="connsiteY903" fmla="*/ 391629 h 6857989"/>
              <a:gd name="connsiteX904" fmla="*/ 0 w 9601186"/>
              <a:gd name="connsiteY904" fmla="*/ 0 h 6857989"/>
              <a:gd name="connsiteX905" fmla="*/ 9601186 w 9601186"/>
              <a:gd name="connsiteY905" fmla="*/ 0 h 6857989"/>
              <a:gd name="connsiteX906" fmla="*/ 9601186 w 9601186"/>
              <a:gd name="connsiteY906" fmla="*/ 6857989 h 6857989"/>
              <a:gd name="connsiteX907" fmla="*/ 0 w 9601186"/>
              <a:gd name="connsiteY907" fmla="*/ 6857989 h 6857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</a:cxnLst>
            <a:rect l="l" t="t" r="r" b="b"/>
            <a:pathLst>
              <a:path w="9601186" h="6857989">
                <a:moveTo>
                  <a:pt x="779488" y="1341435"/>
                </a:moveTo>
                <a:cubicBezTo>
                  <a:pt x="756541" y="1341435"/>
                  <a:pt x="738183" y="1361322"/>
                  <a:pt x="738183" y="1384269"/>
                </a:cubicBezTo>
                <a:cubicBezTo>
                  <a:pt x="738183" y="1407216"/>
                  <a:pt x="756541" y="1425573"/>
                  <a:pt x="779488" y="1425573"/>
                </a:cubicBezTo>
                <a:cubicBezTo>
                  <a:pt x="803964" y="1424043"/>
                  <a:pt x="822321" y="1405687"/>
                  <a:pt x="820792" y="1382740"/>
                </a:cubicBezTo>
                <a:cubicBezTo>
                  <a:pt x="820792" y="1359793"/>
                  <a:pt x="802434" y="1341435"/>
                  <a:pt x="779488" y="1341435"/>
                </a:cubicBezTo>
                <a:close/>
                <a:moveTo>
                  <a:pt x="1159691" y="1336130"/>
                </a:moveTo>
                <a:cubicBezTo>
                  <a:pt x="1148949" y="1336130"/>
                  <a:pt x="1138207" y="1340350"/>
                  <a:pt x="1129767" y="1348790"/>
                </a:cubicBezTo>
                <a:cubicBezTo>
                  <a:pt x="1114421" y="1365671"/>
                  <a:pt x="1114421" y="1391759"/>
                  <a:pt x="1131301" y="1408640"/>
                </a:cubicBezTo>
                <a:cubicBezTo>
                  <a:pt x="1146647" y="1423985"/>
                  <a:pt x="1174270" y="1423985"/>
                  <a:pt x="1189615" y="1407105"/>
                </a:cubicBezTo>
                <a:cubicBezTo>
                  <a:pt x="1206496" y="1390224"/>
                  <a:pt x="1206496" y="1364136"/>
                  <a:pt x="1189615" y="1348790"/>
                </a:cubicBezTo>
                <a:cubicBezTo>
                  <a:pt x="1181175" y="1340350"/>
                  <a:pt x="1170433" y="1336130"/>
                  <a:pt x="1159691" y="1336130"/>
                </a:cubicBezTo>
                <a:close/>
                <a:moveTo>
                  <a:pt x="954651" y="1310972"/>
                </a:moveTo>
                <a:cubicBezTo>
                  <a:pt x="937848" y="1318610"/>
                  <a:pt x="928682" y="1339996"/>
                  <a:pt x="936320" y="1358328"/>
                </a:cubicBezTo>
                <a:cubicBezTo>
                  <a:pt x="943958" y="1375132"/>
                  <a:pt x="965344" y="1384297"/>
                  <a:pt x="983676" y="1376659"/>
                </a:cubicBezTo>
                <a:cubicBezTo>
                  <a:pt x="1000479" y="1369021"/>
                  <a:pt x="1009645" y="1347634"/>
                  <a:pt x="1002007" y="1329303"/>
                </a:cubicBezTo>
                <a:cubicBezTo>
                  <a:pt x="998188" y="1320901"/>
                  <a:pt x="990932" y="1314409"/>
                  <a:pt x="982339" y="1310972"/>
                </a:cubicBezTo>
                <a:cubicBezTo>
                  <a:pt x="973746" y="1307534"/>
                  <a:pt x="963817" y="1307153"/>
                  <a:pt x="954651" y="1310972"/>
                </a:cubicBezTo>
                <a:close/>
                <a:moveTo>
                  <a:pt x="907796" y="1219076"/>
                </a:moveTo>
                <a:cubicBezTo>
                  <a:pt x="889508" y="1216026"/>
                  <a:pt x="869696" y="1229753"/>
                  <a:pt x="866648" y="1248055"/>
                </a:cubicBezTo>
                <a:cubicBezTo>
                  <a:pt x="863600" y="1267882"/>
                  <a:pt x="875792" y="1286186"/>
                  <a:pt x="895604" y="1289236"/>
                </a:cubicBezTo>
                <a:cubicBezTo>
                  <a:pt x="913892" y="1293812"/>
                  <a:pt x="933704" y="1280084"/>
                  <a:pt x="936752" y="1261781"/>
                </a:cubicBezTo>
                <a:cubicBezTo>
                  <a:pt x="939800" y="1241954"/>
                  <a:pt x="927608" y="1223652"/>
                  <a:pt x="907796" y="1219076"/>
                </a:cubicBezTo>
                <a:close/>
                <a:moveTo>
                  <a:pt x="1027390" y="1217487"/>
                </a:moveTo>
                <a:cubicBezTo>
                  <a:pt x="1007562" y="1222063"/>
                  <a:pt x="995360" y="1241891"/>
                  <a:pt x="999935" y="1260193"/>
                </a:cubicBezTo>
                <a:cubicBezTo>
                  <a:pt x="1002986" y="1280021"/>
                  <a:pt x="1022814" y="1292224"/>
                  <a:pt x="1041117" y="1287648"/>
                </a:cubicBezTo>
                <a:cubicBezTo>
                  <a:pt x="1060946" y="1283072"/>
                  <a:pt x="1073149" y="1264769"/>
                  <a:pt x="1068572" y="1244941"/>
                </a:cubicBezTo>
                <a:cubicBezTo>
                  <a:pt x="1065523" y="1226639"/>
                  <a:pt x="1045693" y="1214437"/>
                  <a:pt x="1027390" y="1217487"/>
                </a:cubicBezTo>
                <a:close/>
                <a:moveTo>
                  <a:pt x="682112" y="1190377"/>
                </a:moveTo>
                <a:cubicBezTo>
                  <a:pt x="663780" y="1184271"/>
                  <a:pt x="643921" y="1191904"/>
                  <a:pt x="636283" y="1210221"/>
                </a:cubicBezTo>
                <a:cubicBezTo>
                  <a:pt x="628645" y="1228539"/>
                  <a:pt x="637811" y="1249908"/>
                  <a:pt x="656142" y="1256014"/>
                </a:cubicBezTo>
                <a:cubicBezTo>
                  <a:pt x="674474" y="1263645"/>
                  <a:pt x="694332" y="1254487"/>
                  <a:pt x="701970" y="1237697"/>
                </a:cubicBezTo>
                <a:cubicBezTo>
                  <a:pt x="709608" y="1219379"/>
                  <a:pt x="700443" y="1198010"/>
                  <a:pt x="682112" y="1190377"/>
                </a:cubicBezTo>
                <a:close/>
                <a:moveTo>
                  <a:pt x="1277424" y="1183973"/>
                </a:moveTo>
                <a:cubicBezTo>
                  <a:pt x="1259092" y="1176335"/>
                  <a:pt x="1239233" y="1185500"/>
                  <a:pt x="1231595" y="1203832"/>
                </a:cubicBezTo>
                <a:cubicBezTo>
                  <a:pt x="1223958" y="1222163"/>
                  <a:pt x="1233123" y="1242021"/>
                  <a:pt x="1251455" y="1249659"/>
                </a:cubicBezTo>
                <a:cubicBezTo>
                  <a:pt x="1269786" y="1257297"/>
                  <a:pt x="1289645" y="1248131"/>
                  <a:pt x="1297283" y="1229801"/>
                </a:cubicBezTo>
                <a:cubicBezTo>
                  <a:pt x="1304921" y="1211470"/>
                  <a:pt x="1295755" y="1191611"/>
                  <a:pt x="1277424" y="1183973"/>
                </a:cubicBezTo>
                <a:close/>
                <a:moveTo>
                  <a:pt x="771792" y="1170952"/>
                </a:moveTo>
                <a:cubicBezTo>
                  <a:pt x="762626" y="1172861"/>
                  <a:pt x="754224" y="1178208"/>
                  <a:pt x="748878" y="1186610"/>
                </a:cubicBezTo>
                <a:cubicBezTo>
                  <a:pt x="738185" y="1203414"/>
                  <a:pt x="742767" y="1224800"/>
                  <a:pt x="759571" y="1235493"/>
                </a:cubicBezTo>
                <a:cubicBezTo>
                  <a:pt x="776375" y="1246185"/>
                  <a:pt x="797761" y="1241603"/>
                  <a:pt x="808454" y="1224800"/>
                </a:cubicBezTo>
                <a:cubicBezTo>
                  <a:pt x="819147" y="1207997"/>
                  <a:pt x="814565" y="1186610"/>
                  <a:pt x="799289" y="1175917"/>
                </a:cubicBezTo>
                <a:cubicBezTo>
                  <a:pt x="790887" y="1170570"/>
                  <a:pt x="780957" y="1169042"/>
                  <a:pt x="771792" y="1170952"/>
                </a:cubicBezTo>
                <a:close/>
                <a:moveTo>
                  <a:pt x="1161972" y="1165427"/>
                </a:moveTo>
                <a:cubicBezTo>
                  <a:pt x="1152996" y="1163900"/>
                  <a:pt x="1143449" y="1165809"/>
                  <a:pt x="1135811" y="1171156"/>
                </a:cubicBezTo>
                <a:cubicBezTo>
                  <a:pt x="1119008" y="1181849"/>
                  <a:pt x="1114424" y="1204764"/>
                  <a:pt x="1126645" y="1220039"/>
                </a:cubicBezTo>
                <a:cubicBezTo>
                  <a:pt x="1137338" y="1236843"/>
                  <a:pt x="1158725" y="1241425"/>
                  <a:pt x="1175528" y="1229205"/>
                </a:cubicBezTo>
                <a:cubicBezTo>
                  <a:pt x="1192332" y="1218513"/>
                  <a:pt x="1195387" y="1197126"/>
                  <a:pt x="1184694" y="1180321"/>
                </a:cubicBezTo>
                <a:cubicBezTo>
                  <a:pt x="1179348" y="1171920"/>
                  <a:pt x="1170946" y="1166955"/>
                  <a:pt x="1161972" y="1165427"/>
                </a:cubicBezTo>
                <a:close/>
                <a:moveTo>
                  <a:pt x="880558" y="1141110"/>
                </a:moveTo>
                <a:cubicBezTo>
                  <a:pt x="865457" y="1135062"/>
                  <a:pt x="850356" y="1142622"/>
                  <a:pt x="844316" y="1156229"/>
                </a:cubicBezTo>
                <a:cubicBezTo>
                  <a:pt x="839786" y="1171348"/>
                  <a:pt x="845826" y="1186467"/>
                  <a:pt x="859417" y="1192515"/>
                </a:cubicBezTo>
                <a:cubicBezTo>
                  <a:pt x="874517" y="1198563"/>
                  <a:pt x="889618" y="1191003"/>
                  <a:pt x="895658" y="1177396"/>
                </a:cubicBezTo>
                <a:cubicBezTo>
                  <a:pt x="901699" y="1162276"/>
                  <a:pt x="894148" y="1147157"/>
                  <a:pt x="880558" y="1141110"/>
                </a:cubicBezTo>
                <a:close/>
                <a:moveTo>
                  <a:pt x="1060978" y="1137934"/>
                </a:moveTo>
                <a:cubicBezTo>
                  <a:pt x="1047369" y="1143982"/>
                  <a:pt x="1039810" y="1160613"/>
                  <a:pt x="1045858" y="1174220"/>
                </a:cubicBezTo>
                <a:cubicBezTo>
                  <a:pt x="1051906" y="1187827"/>
                  <a:pt x="1068537" y="1195387"/>
                  <a:pt x="1082144" y="1189340"/>
                </a:cubicBezTo>
                <a:cubicBezTo>
                  <a:pt x="1097262" y="1183292"/>
                  <a:pt x="1103310" y="1166660"/>
                  <a:pt x="1097262" y="1153053"/>
                </a:cubicBezTo>
                <a:cubicBezTo>
                  <a:pt x="1091215" y="1139446"/>
                  <a:pt x="1074585" y="1131887"/>
                  <a:pt x="1060978" y="1137934"/>
                </a:cubicBezTo>
                <a:close/>
                <a:moveTo>
                  <a:pt x="980025" y="1133358"/>
                </a:moveTo>
                <a:cubicBezTo>
                  <a:pt x="969296" y="1130292"/>
                  <a:pt x="958566" y="1134891"/>
                  <a:pt x="955501" y="1145620"/>
                </a:cubicBezTo>
                <a:cubicBezTo>
                  <a:pt x="950903" y="1154817"/>
                  <a:pt x="955501" y="1167079"/>
                  <a:pt x="966230" y="1170144"/>
                </a:cubicBezTo>
                <a:cubicBezTo>
                  <a:pt x="976959" y="1174743"/>
                  <a:pt x="987689" y="1168611"/>
                  <a:pt x="992287" y="1159415"/>
                </a:cubicBezTo>
                <a:cubicBezTo>
                  <a:pt x="995353" y="1148685"/>
                  <a:pt x="990754" y="1137956"/>
                  <a:pt x="980025" y="1133358"/>
                </a:cubicBezTo>
                <a:close/>
                <a:moveTo>
                  <a:pt x="895563" y="1087363"/>
                </a:moveTo>
                <a:cubicBezTo>
                  <a:pt x="891189" y="1087363"/>
                  <a:pt x="887005" y="1088885"/>
                  <a:pt x="883963" y="1091927"/>
                </a:cubicBezTo>
                <a:cubicBezTo>
                  <a:pt x="877877" y="1099534"/>
                  <a:pt x="877877" y="1108663"/>
                  <a:pt x="885484" y="1116270"/>
                </a:cubicBezTo>
                <a:cubicBezTo>
                  <a:pt x="891570" y="1122355"/>
                  <a:pt x="902219" y="1122355"/>
                  <a:pt x="908305" y="1114748"/>
                </a:cubicBezTo>
                <a:cubicBezTo>
                  <a:pt x="914390" y="1108663"/>
                  <a:pt x="914390" y="1098013"/>
                  <a:pt x="908305" y="1091927"/>
                </a:cubicBezTo>
                <a:cubicBezTo>
                  <a:pt x="904501" y="1088885"/>
                  <a:pt x="899937" y="1087363"/>
                  <a:pt x="895563" y="1087363"/>
                </a:cubicBezTo>
                <a:close/>
                <a:moveTo>
                  <a:pt x="1047018" y="1082667"/>
                </a:moveTo>
                <a:cubicBezTo>
                  <a:pt x="1037926" y="1082667"/>
                  <a:pt x="1031865" y="1090243"/>
                  <a:pt x="1031865" y="1099335"/>
                </a:cubicBezTo>
                <a:cubicBezTo>
                  <a:pt x="1031865" y="1108428"/>
                  <a:pt x="1039441" y="1116005"/>
                  <a:pt x="1048533" y="1116005"/>
                </a:cubicBezTo>
                <a:cubicBezTo>
                  <a:pt x="1057626" y="1114489"/>
                  <a:pt x="1065203" y="1106912"/>
                  <a:pt x="1065203" y="1097820"/>
                </a:cubicBezTo>
                <a:cubicBezTo>
                  <a:pt x="1063688" y="1088728"/>
                  <a:pt x="1056110" y="1082667"/>
                  <a:pt x="1047018" y="1082667"/>
                </a:cubicBezTo>
                <a:close/>
                <a:moveTo>
                  <a:pt x="692071" y="1078114"/>
                </a:moveTo>
                <a:cubicBezTo>
                  <a:pt x="683097" y="1076587"/>
                  <a:pt x="673549" y="1078496"/>
                  <a:pt x="665911" y="1083843"/>
                </a:cubicBezTo>
                <a:cubicBezTo>
                  <a:pt x="649108" y="1094536"/>
                  <a:pt x="644525" y="1117450"/>
                  <a:pt x="656746" y="1132726"/>
                </a:cubicBezTo>
                <a:cubicBezTo>
                  <a:pt x="667439" y="1149530"/>
                  <a:pt x="690353" y="1154113"/>
                  <a:pt x="705629" y="1141892"/>
                </a:cubicBezTo>
                <a:cubicBezTo>
                  <a:pt x="722433" y="1131199"/>
                  <a:pt x="725488" y="1109812"/>
                  <a:pt x="714794" y="1093008"/>
                </a:cubicBezTo>
                <a:cubicBezTo>
                  <a:pt x="709448" y="1084607"/>
                  <a:pt x="701046" y="1079642"/>
                  <a:pt x="692071" y="1078114"/>
                </a:cubicBezTo>
                <a:close/>
                <a:moveTo>
                  <a:pt x="507229" y="1075588"/>
                </a:moveTo>
                <a:cubicBezTo>
                  <a:pt x="496487" y="1075781"/>
                  <a:pt x="485745" y="1080000"/>
                  <a:pt x="477305" y="1088441"/>
                </a:cubicBezTo>
                <a:cubicBezTo>
                  <a:pt x="461959" y="1105321"/>
                  <a:pt x="461959" y="1131409"/>
                  <a:pt x="478839" y="1146755"/>
                </a:cubicBezTo>
                <a:cubicBezTo>
                  <a:pt x="495720" y="1163635"/>
                  <a:pt x="521808" y="1163635"/>
                  <a:pt x="538688" y="1146755"/>
                </a:cubicBezTo>
                <a:cubicBezTo>
                  <a:pt x="554034" y="1129874"/>
                  <a:pt x="554034" y="1103787"/>
                  <a:pt x="537153" y="1086906"/>
                </a:cubicBezTo>
                <a:cubicBezTo>
                  <a:pt x="528713" y="1079233"/>
                  <a:pt x="517971" y="1075397"/>
                  <a:pt x="507229" y="1075588"/>
                </a:cubicBezTo>
                <a:close/>
                <a:moveTo>
                  <a:pt x="1240928" y="1070939"/>
                </a:moveTo>
                <a:cubicBezTo>
                  <a:pt x="1232144" y="1072848"/>
                  <a:pt x="1224124" y="1078195"/>
                  <a:pt x="1218777" y="1086597"/>
                </a:cubicBezTo>
                <a:cubicBezTo>
                  <a:pt x="1208084" y="1101874"/>
                  <a:pt x="1212667" y="1124787"/>
                  <a:pt x="1227943" y="1135481"/>
                </a:cubicBezTo>
                <a:cubicBezTo>
                  <a:pt x="1244746" y="1146174"/>
                  <a:pt x="1267661" y="1141591"/>
                  <a:pt x="1278354" y="1124787"/>
                </a:cubicBezTo>
                <a:cubicBezTo>
                  <a:pt x="1289047" y="1107984"/>
                  <a:pt x="1284465" y="1086597"/>
                  <a:pt x="1267661" y="1075904"/>
                </a:cubicBezTo>
                <a:cubicBezTo>
                  <a:pt x="1259259" y="1070557"/>
                  <a:pt x="1249711" y="1069030"/>
                  <a:pt x="1240928" y="1070939"/>
                </a:cubicBezTo>
                <a:close/>
                <a:moveTo>
                  <a:pt x="812745" y="1069229"/>
                </a:moveTo>
                <a:cubicBezTo>
                  <a:pt x="807949" y="1067505"/>
                  <a:pt x="802578" y="1067505"/>
                  <a:pt x="797974" y="1069804"/>
                </a:cubicBezTo>
                <a:cubicBezTo>
                  <a:pt x="787232" y="1072869"/>
                  <a:pt x="782628" y="1085132"/>
                  <a:pt x="787232" y="1095861"/>
                </a:cubicBezTo>
                <a:cubicBezTo>
                  <a:pt x="791836" y="1105058"/>
                  <a:pt x="804113" y="1109656"/>
                  <a:pt x="813320" y="1105058"/>
                </a:cubicBezTo>
                <a:cubicBezTo>
                  <a:pt x="824062" y="1100459"/>
                  <a:pt x="828666" y="1089730"/>
                  <a:pt x="824062" y="1079001"/>
                </a:cubicBezTo>
                <a:cubicBezTo>
                  <a:pt x="821761" y="1074402"/>
                  <a:pt x="817540" y="1070954"/>
                  <a:pt x="812745" y="1069229"/>
                </a:cubicBezTo>
                <a:close/>
                <a:moveTo>
                  <a:pt x="1424014" y="1063622"/>
                </a:moveTo>
                <a:cubicBezTo>
                  <a:pt x="1401067" y="1063622"/>
                  <a:pt x="1382709" y="1081980"/>
                  <a:pt x="1382709" y="1104927"/>
                </a:cubicBezTo>
                <a:cubicBezTo>
                  <a:pt x="1382709" y="1127873"/>
                  <a:pt x="1401067" y="1147760"/>
                  <a:pt x="1425544" y="1146231"/>
                </a:cubicBezTo>
                <a:cubicBezTo>
                  <a:pt x="1448491" y="1146231"/>
                  <a:pt x="1466847" y="1127873"/>
                  <a:pt x="1465318" y="1104927"/>
                </a:cubicBezTo>
                <a:cubicBezTo>
                  <a:pt x="1465318" y="1081980"/>
                  <a:pt x="1446960" y="1063622"/>
                  <a:pt x="1424014" y="1063622"/>
                </a:cubicBezTo>
                <a:close/>
                <a:moveTo>
                  <a:pt x="1144114" y="1061291"/>
                </a:moveTo>
                <a:cubicBezTo>
                  <a:pt x="1139323" y="1059567"/>
                  <a:pt x="1133575" y="1059567"/>
                  <a:pt x="1128211" y="1061866"/>
                </a:cubicBezTo>
                <a:cubicBezTo>
                  <a:pt x="1119014" y="1064931"/>
                  <a:pt x="1114416" y="1077194"/>
                  <a:pt x="1119014" y="1087923"/>
                </a:cubicBezTo>
                <a:cubicBezTo>
                  <a:pt x="1123612" y="1097119"/>
                  <a:pt x="1134342" y="1101718"/>
                  <a:pt x="1145072" y="1097119"/>
                </a:cubicBezTo>
                <a:cubicBezTo>
                  <a:pt x="1154268" y="1092521"/>
                  <a:pt x="1158866" y="1081792"/>
                  <a:pt x="1154268" y="1071062"/>
                </a:cubicBezTo>
                <a:cubicBezTo>
                  <a:pt x="1152735" y="1066464"/>
                  <a:pt x="1148903" y="1063015"/>
                  <a:pt x="1144114" y="1061291"/>
                </a:cubicBezTo>
                <a:close/>
                <a:moveTo>
                  <a:pt x="943630" y="1058791"/>
                </a:moveTo>
                <a:cubicBezTo>
                  <a:pt x="934502" y="1057270"/>
                  <a:pt x="925373" y="1063355"/>
                  <a:pt x="923852" y="1072484"/>
                </a:cubicBezTo>
                <a:cubicBezTo>
                  <a:pt x="922331" y="1081612"/>
                  <a:pt x="928416" y="1090740"/>
                  <a:pt x="937544" y="1092261"/>
                </a:cubicBezTo>
                <a:cubicBezTo>
                  <a:pt x="946673" y="1093783"/>
                  <a:pt x="955801" y="1087697"/>
                  <a:pt x="957322" y="1078569"/>
                </a:cubicBezTo>
                <a:cubicBezTo>
                  <a:pt x="958844" y="1069441"/>
                  <a:pt x="952758" y="1060312"/>
                  <a:pt x="943630" y="1058791"/>
                </a:cubicBezTo>
                <a:close/>
                <a:moveTo>
                  <a:pt x="997894" y="1057203"/>
                </a:moveTo>
                <a:cubicBezTo>
                  <a:pt x="988750" y="1058725"/>
                  <a:pt x="982654" y="1067853"/>
                  <a:pt x="985702" y="1076981"/>
                </a:cubicBezTo>
                <a:cubicBezTo>
                  <a:pt x="987226" y="1086109"/>
                  <a:pt x="996370" y="1092195"/>
                  <a:pt x="1005514" y="1090673"/>
                </a:cubicBezTo>
                <a:cubicBezTo>
                  <a:pt x="1014658" y="1087631"/>
                  <a:pt x="1020754" y="1078502"/>
                  <a:pt x="1017706" y="1069374"/>
                </a:cubicBezTo>
                <a:cubicBezTo>
                  <a:pt x="1016182" y="1060246"/>
                  <a:pt x="1007038" y="1055682"/>
                  <a:pt x="997894" y="1057203"/>
                </a:cubicBezTo>
                <a:close/>
                <a:moveTo>
                  <a:pt x="877625" y="1035932"/>
                </a:moveTo>
                <a:cubicBezTo>
                  <a:pt x="873434" y="1036885"/>
                  <a:pt x="869624" y="1039552"/>
                  <a:pt x="866576" y="1044124"/>
                </a:cubicBezTo>
                <a:cubicBezTo>
                  <a:pt x="862004" y="1051744"/>
                  <a:pt x="865052" y="1060888"/>
                  <a:pt x="872672" y="1066984"/>
                </a:cubicBezTo>
                <a:cubicBezTo>
                  <a:pt x="880292" y="1071556"/>
                  <a:pt x="890960" y="1068508"/>
                  <a:pt x="895532" y="1060888"/>
                </a:cubicBezTo>
                <a:cubicBezTo>
                  <a:pt x="900104" y="1053268"/>
                  <a:pt x="898580" y="1042600"/>
                  <a:pt x="890960" y="1038028"/>
                </a:cubicBezTo>
                <a:cubicBezTo>
                  <a:pt x="886388" y="1035742"/>
                  <a:pt x="881816" y="1034980"/>
                  <a:pt x="877625" y="1035932"/>
                </a:cubicBezTo>
                <a:close/>
                <a:moveTo>
                  <a:pt x="1061714" y="1030981"/>
                </a:moveTo>
                <a:cubicBezTo>
                  <a:pt x="1057332" y="1030219"/>
                  <a:pt x="1052760" y="1030981"/>
                  <a:pt x="1048950" y="1033267"/>
                </a:cubicBezTo>
                <a:cubicBezTo>
                  <a:pt x="1041330" y="1039363"/>
                  <a:pt x="1039806" y="1050031"/>
                  <a:pt x="1045902" y="1057651"/>
                </a:cubicBezTo>
                <a:cubicBezTo>
                  <a:pt x="1050474" y="1065271"/>
                  <a:pt x="1061142" y="1066795"/>
                  <a:pt x="1068762" y="1060699"/>
                </a:cubicBezTo>
                <a:cubicBezTo>
                  <a:pt x="1076382" y="1056128"/>
                  <a:pt x="1077906" y="1045459"/>
                  <a:pt x="1073335" y="1037839"/>
                </a:cubicBezTo>
                <a:cubicBezTo>
                  <a:pt x="1070286" y="1034029"/>
                  <a:pt x="1066096" y="1031743"/>
                  <a:pt x="1061714" y="1030981"/>
                </a:cubicBezTo>
                <a:close/>
                <a:moveTo>
                  <a:pt x="967621" y="1028693"/>
                </a:moveTo>
                <a:cubicBezTo>
                  <a:pt x="960150" y="1028693"/>
                  <a:pt x="955668" y="1035044"/>
                  <a:pt x="955668" y="1042981"/>
                </a:cubicBezTo>
                <a:cubicBezTo>
                  <a:pt x="955668" y="1050919"/>
                  <a:pt x="961644" y="1055682"/>
                  <a:pt x="969115" y="1055682"/>
                </a:cubicBezTo>
                <a:cubicBezTo>
                  <a:pt x="975091" y="1055682"/>
                  <a:pt x="981068" y="1049332"/>
                  <a:pt x="981068" y="1042981"/>
                </a:cubicBezTo>
                <a:cubicBezTo>
                  <a:pt x="981068" y="1035044"/>
                  <a:pt x="975091" y="1028693"/>
                  <a:pt x="967621" y="1028693"/>
                </a:cubicBezTo>
                <a:close/>
                <a:moveTo>
                  <a:pt x="2905436" y="1027386"/>
                </a:moveTo>
                <a:cubicBezTo>
                  <a:pt x="2917813" y="1028013"/>
                  <a:pt x="2927591" y="1032020"/>
                  <a:pt x="2934772" y="1039405"/>
                </a:cubicBezTo>
                <a:cubicBezTo>
                  <a:pt x="2941952" y="1046789"/>
                  <a:pt x="2947056" y="1055852"/>
                  <a:pt x="2950082" y="1066591"/>
                </a:cubicBezTo>
                <a:cubicBezTo>
                  <a:pt x="2953108" y="1077330"/>
                  <a:pt x="2954577" y="1088043"/>
                  <a:pt x="2954490" y="1098731"/>
                </a:cubicBezTo>
                <a:cubicBezTo>
                  <a:pt x="2954633" y="1107378"/>
                  <a:pt x="2954176" y="1115551"/>
                  <a:pt x="2953118" y="1123256"/>
                </a:cubicBezTo>
                <a:cubicBezTo>
                  <a:pt x="2952060" y="1130959"/>
                  <a:pt x="2949545" y="1138791"/>
                  <a:pt x="2945571" y="1146751"/>
                </a:cubicBezTo>
                <a:cubicBezTo>
                  <a:pt x="2941312" y="1154712"/>
                  <a:pt x="2935423" y="1160914"/>
                  <a:pt x="2927905" y="1165359"/>
                </a:cubicBezTo>
                <a:cubicBezTo>
                  <a:pt x="2920386" y="1169803"/>
                  <a:pt x="2912096" y="1172062"/>
                  <a:pt x="2903034" y="1172133"/>
                </a:cubicBezTo>
                <a:cubicBezTo>
                  <a:pt x="2889877" y="1171890"/>
                  <a:pt x="2879314" y="1167917"/>
                  <a:pt x="2871346" y="1160214"/>
                </a:cubicBezTo>
                <a:cubicBezTo>
                  <a:pt x="2863377" y="1152511"/>
                  <a:pt x="2857703" y="1142535"/>
                  <a:pt x="2854322" y="1130287"/>
                </a:cubicBezTo>
                <a:cubicBezTo>
                  <a:pt x="2852814" y="1124628"/>
                  <a:pt x="2851800" y="1118882"/>
                  <a:pt x="2851278" y="1113051"/>
                </a:cubicBezTo>
                <a:cubicBezTo>
                  <a:pt x="2850756" y="1107220"/>
                  <a:pt x="2850513" y="1101304"/>
                  <a:pt x="2850549" y="1095301"/>
                </a:cubicBezTo>
                <a:cubicBezTo>
                  <a:pt x="2850535" y="1087877"/>
                  <a:pt x="2851507" y="1080088"/>
                  <a:pt x="2853465" y="1071934"/>
                </a:cubicBezTo>
                <a:cubicBezTo>
                  <a:pt x="2855423" y="1063781"/>
                  <a:pt x="2858453" y="1056592"/>
                  <a:pt x="2862555" y="1050368"/>
                </a:cubicBezTo>
                <a:cubicBezTo>
                  <a:pt x="2867922" y="1042357"/>
                  <a:pt x="2873997" y="1036511"/>
                  <a:pt x="2880779" y="1032831"/>
                </a:cubicBezTo>
                <a:cubicBezTo>
                  <a:pt x="2887562" y="1029152"/>
                  <a:pt x="2895780" y="1027336"/>
                  <a:pt x="2905436" y="1027386"/>
                </a:cubicBezTo>
                <a:close/>
                <a:moveTo>
                  <a:pt x="1830964" y="1027385"/>
                </a:moveTo>
                <a:cubicBezTo>
                  <a:pt x="1844575" y="1027635"/>
                  <a:pt x="1855239" y="1031252"/>
                  <a:pt x="1862956" y="1038235"/>
                </a:cubicBezTo>
                <a:cubicBezTo>
                  <a:pt x="1870672" y="1045218"/>
                  <a:pt x="1876101" y="1054069"/>
                  <a:pt x="1879244" y="1064786"/>
                </a:cubicBezTo>
                <a:cubicBezTo>
                  <a:pt x="1882386" y="1075504"/>
                  <a:pt x="1883902" y="1086590"/>
                  <a:pt x="1883792" y="1098044"/>
                </a:cubicBezTo>
                <a:cubicBezTo>
                  <a:pt x="1883849" y="1106026"/>
                  <a:pt x="1883135" y="1114072"/>
                  <a:pt x="1881648" y="1122183"/>
                </a:cubicBezTo>
                <a:cubicBezTo>
                  <a:pt x="1880161" y="1130293"/>
                  <a:pt x="1877560" y="1137911"/>
                  <a:pt x="1873844" y="1145036"/>
                </a:cubicBezTo>
                <a:cubicBezTo>
                  <a:pt x="1869699" y="1152767"/>
                  <a:pt x="1863753" y="1159170"/>
                  <a:pt x="1856006" y="1164244"/>
                </a:cubicBezTo>
                <a:cubicBezTo>
                  <a:pt x="1848259" y="1169318"/>
                  <a:pt x="1839912" y="1171947"/>
                  <a:pt x="1830964" y="1172132"/>
                </a:cubicBezTo>
                <a:cubicBezTo>
                  <a:pt x="1822181" y="1172033"/>
                  <a:pt x="1814277" y="1169918"/>
                  <a:pt x="1807252" y="1165787"/>
                </a:cubicBezTo>
                <a:cubicBezTo>
                  <a:pt x="1800227" y="1161657"/>
                  <a:pt x="1794295" y="1156112"/>
                  <a:pt x="1789457" y="1149151"/>
                </a:cubicBezTo>
                <a:cubicBezTo>
                  <a:pt x="1784440" y="1142091"/>
                  <a:pt x="1781095" y="1134088"/>
                  <a:pt x="1779423" y="1125142"/>
                </a:cubicBezTo>
                <a:cubicBezTo>
                  <a:pt x="1777751" y="1116195"/>
                  <a:pt x="1776979" y="1107505"/>
                  <a:pt x="1777107" y="1099074"/>
                </a:cubicBezTo>
                <a:cubicBezTo>
                  <a:pt x="1777050" y="1091656"/>
                  <a:pt x="1777765" y="1083768"/>
                  <a:pt x="1779251" y="1075406"/>
                </a:cubicBezTo>
                <a:cubicBezTo>
                  <a:pt x="1780738" y="1067046"/>
                  <a:pt x="1783339" y="1059500"/>
                  <a:pt x="1787055" y="1052768"/>
                </a:cubicBezTo>
                <a:cubicBezTo>
                  <a:pt x="1792015" y="1044808"/>
                  <a:pt x="1798133" y="1038605"/>
                  <a:pt x="1805408" y="1034160"/>
                </a:cubicBezTo>
                <a:cubicBezTo>
                  <a:pt x="1812683" y="1029715"/>
                  <a:pt x="1821202" y="1027457"/>
                  <a:pt x="1830964" y="1027385"/>
                </a:cubicBezTo>
                <a:close/>
                <a:moveTo>
                  <a:pt x="2714368" y="1027385"/>
                </a:moveTo>
                <a:cubicBezTo>
                  <a:pt x="2727979" y="1027635"/>
                  <a:pt x="2738642" y="1031252"/>
                  <a:pt x="2746360" y="1038235"/>
                </a:cubicBezTo>
                <a:cubicBezTo>
                  <a:pt x="2754076" y="1045218"/>
                  <a:pt x="2759504" y="1054068"/>
                  <a:pt x="2762648" y="1064786"/>
                </a:cubicBezTo>
                <a:cubicBezTo>
                  <a:pt x="2765789" y="1075504"/>
                  <a:pt x="2767306" y="1086590"/>
                  <a:pt x="2767196" y="1098044"/>
                </a:cubicBezTo>
                <a:cubicBezTo>
                  <a:pt x="2767252" y="1106026"/>
                  <a:pt x="2766539" y="1114072"/>
                  <a:pt x="2765052" y="1122183"/>
                </a:cubicBezTo>
                <a:cubicBezTo>
                  <a:pt x="2763564" y="1130293"/>
                  <a:pt x="2760963" y="1137911"/>
                  <a:pt x="2757248" y="1145035"/>
                </a:cubicBezTo>
                <a:cubicBezTo>
                  <a:pt x="2753103" y="1152767"/>
                  <a:pt x="2747156" y="1159170"/>
                  <a:pt x="2739410" y="1164243"/>
                </a:cubicBezTo>
                <a:cubicBezTo>
                  <a:pt x="2731663" y="1169317"/>
                  <a:pt x="2723315" y="1171946"/>
                  <a:pt x="2714368" y="1172132"/>
                </a:cubicBezTo>
                <a:cubicBezTo>
                  <a:pt x="2705585" y="1172032"/>
                  <a:pt x="2697681" y="1169917"/>
                  <a:pt x="2690655" y="1165787"/>
                </a:cubicBezTo>
                <a:cubicBezTo>
                  <a:pt x="2683630" y="1161656"/>
                  <a:pt x="2677699" y="1156111"/>
                  <a:pt x="2672861" y="1149151"/>
                </a:cubicBezTo>
                <a:cubicBezTo>
                  <a:pt x="2667844" y="1142091"/>
                  <a:pt x="2664498" y="1134088"/>
                  <a:pt x="2662827" y="1125141"/>
                </a:cubicBezTo>
                <a:cubicBezTo>
                  <a:pt x="2661155" y="1116195"/>
                  <a:pt x="2660383" y="1107505"/>
                  <a:pt x="2660511" y="1099073"/>
                </a:cubicBezTo>
                <a:cubicBezTo>
                  <a:pt x="2660453" y="1091656"/>
                  <a:pt x="2661169" y="1083767"/>
                  <a:pt x="2662655" y="1075406"/>
                </a:cubicBezTo>
                <a:cubicBezTo>
                  <a:pt x="2664142" y="1067046"/>
                  <a:pt x="2666742" y="1059500"/>
                  <a:pt x="2670460" y="1052768"/>
                </a:cubicBezTo>
                <a:cubicBezTo>
                  <a:pt x="2675418" y="1044808"/>
                  <a:pt x="2681537" y="1038605"/>
                  <a:pt x="2688812" y="1034160"/>
                </a:cubicBezTo>
                <a:cubicBezTo>
                  <a:pt x="2696086" y="1029715"/>
                  <a:pt x="2704606" y="1027457"/>
                  <a:pt x="2714368" y="1027385"/>
                </a:cubicBezTo>
                <a:close/>
                <a:moveTo>
                  <a:pt x="2115854" y="1026700"/>
                </a:moveTo>
                <a:cubicBezTo>
                  <a:pt x="2126714" y="1026905"/>
                  <a:pt x="2135755" y="1029926"/>
                  <a:pt x="2142981" y="1035761"/>
                </a:cubicBezTo>
                <a:cubicBezTo>
                  <a:pt x="2150206" y="1041597"/>
                  <a:pt x="2155639" y="1049015"/>
                  <a:pt x="2159282" y="1058015"/>
                </a:cubicBezTo>
                <a:cubicBezTo>
                  <a:pt x="2162924" y="1067015"/>
                  <a:pt x="2164800" y="1076365"/>
                  <a:pt x="2164909" y="1086064"/>
                </a:cubicBezTo>
                <a:lnTo>
                  <a:pt x="2063712" y="1086064"/>
                </a:lnTo>
                <a:cubicBezTo>
                  <a:pt x="2064387" y="1076149"/>
                  <a:pt x="2066733" y="1066698"/>
                  <a:pt x="2070751" y="1057710"/>
                </a:cubicBezTo>
                <a:cubicBezTo>
                  <a:pt x="2074767" y="1048723"/>
                  <a:pt x="2080518" y="1041355"/>
                  <a:pt x="2088004" y="1035609"/>
                </a:cubicBezTo>
                <a:cubicBezTo>
                  <a:pt x="2095489" y="1029862"/>
                  <a:pt x="2104774" y="1026892"/>
                  <a:pt x="2115854" y="1026700"/>
                </a:cubicBezTo>
                <a:close/>
                <a:moveTo>
                  <a:pt x="3112873" y="1026700"/>
                </a:moveTo>
                <a:cubicBezTo>
                  <a:pt x="3123732" y="1026905"/>
                  <a:pt x="3132774" y="1029926"/>
                  <a:pt x="3139999" y="1035761"/>
                </a:cubicBezTo>
                <a:cubicBezTo>
                  <a:pt x="3147224" y="1041597"/>
                  <a:pt x="3152658" y="1049015"/>
                  <a:pt x="3156300" y="1058015"/>
                </a:cubicBezTo>
                <a:cubicBezTo>
                  <a:pt x="3159942" y="1067015"/>
                  <a:pt x="3161818" y="1076365"/>
                  <a:pt x="3161928" y="1086064"/>
                </a:cubicBezTo>
                <a:lnTo>
                  <a:pt x="3060730" y="1086064"/>
                </a:lnTo>
                <a:cubicBezTo>
                  <a:pt x="3061405" y="1076149"/>
                  <a:pt x="3063752" y="1066698"/>
                  <a:pt x="3067769" y="1057710"/>
                </a:cubicBezTo>
                <a:cubicBezTo>
                  <a:pt x="3071786" y="1048723"/>
                  <a:pt x="3077537" y="1041355"/>
                  <a:pt x="3085023" y="1035609"/>
                </a:cubicBezTo>
                <a:cubicBezTo>
                  <a:pt x="3092508" y="1029862"/>
                  <a:pt x="3101792" y="1026892"/>
                  <a:pt x="3112873" y="1026700"/>
                </a:cubicBezTo>
                <a:close/>
                <a:moveTo>
                  <a:pt x="3377475" y="1011227"/>
                </a:moveTo>
                <a:cubicBezTo>
                  <a:pt x="3356017" y="1011227"/>
                  <a:pt x="3339156" y="1017312"/>
                  <a:pt x="3323829" y="1034047"/>
                </a:cubicBezTo>
                <a:cubicBezTo>
                  <a:pt x="3316165" y="1041654"/>
                  <a:pt x="3316165" y="1053825"/>
                  <a:pt x="3316165" y="1064474"/>
                </a:cubicBezTo>
                <a:cubicBezTo>
                  <a:pt x="3316165" y="1099466"/>
                  <a:pt x="3342221" y="1108594"/>
                  <a:pt x="3372877" y="1113158"/>
                </a:cubicBezTo>
                <a:cubicBezTo>
                  <a:pt x="3391270" y="1116200"/>
                  <a:pt x="3417327" y="1116200"/>
                  <a:pt x="3417327" y="1142064"/>
                </a:cubicBezTo>
                <a:cubicBezTo>
                  <a:pt x="3417327" y="1161841"/>
                  <a:pt x="3402000" y="1174012"/>
                  <a:pt x="3382074" y="1174012"/>
                </a:cubicBezTo>
                <a:cubicBezTo>
                  <a:pt x="3369812" y="1174012"/>
                  <a:pt x="3360615" y="1170970"/>
                  <a:pt x="3351418" y="1164884"/>
                </a:cubicBezTo>
                <a:cubicBezTo>
                  <a:pt x="3340689" y="1155756"/>
                  <a:pt x="3336091" y="1142064"/>
                  <a:pt x="3334558" y="1131414"/>
                </a:cubicBezTo>
                <a:cubicBezTo>
                  <a:pt x="3334558" y="1131414"/>
                  <a:pt x="3334558" y="1131414"/>
                  <a:pt x="3313100" y="1131414"/>
                </a:cubicBezTo>
                <a:cubicBezTo>
                  <a:pt x="3313100" y="1131414"/>
                  <a:pt x="3313100" y="1131414"/>
                  <a:pt x="3313100" y="1192269"/>
                </a:cubicBezTo>
                <a:cubicBezTo>
                  <a:pt x="3313100" y="1192269"/>
                  <a:pt x="3313100" y="1192269"/>
                  <a:pt x="3334558" y="1192269"/>
                </a:cubicBezTo>
                <a:cubicBezTo>
                  <a:pt x="3334558" y="1192269"/>
                  <a:pt x="3334558" y="1192269"/>
                  <a:pt x="3334558" y="1164884"/>
                </a:cubicBezTo>
                <a:cubicBezTo>
                  <a:pt x="3348353" y="1187704"/>
                  <a:pt x="3360615" y="1193790"/>
                  <a:pt x="3388204" y="1193790"/>
                </a:cubicBezTo>
                <a:cubicBezTo>
                  <a:pt x="3414262" y="1193790"/>
                  <a:pt x="3431122" y="1180097"/>
                  <a:pt x="3441851" y="1164884"/>
                </a:cubicBezTo>
                <a:cubicBezTo>
                  <a:pt x="3446449" y="1157277"/>
                  <a:pt x="3446449" y="1146628"/>
                  <a:pt x="3446449" y="1139021"/>
                </a:cubicBezTo>
                <a:cubicBezTo>
                  <a:pt x="3446449" y="1100987"/>
                  <a:pt x="3414262" y="1093380"/>
                  <a:pt x="3383607" y="1088816"/>
                </a:cubicBezTo>
                <a:cubicBezTo>
                  <a:pt x="3372877" y="1085773"/>
                  <a:pt x="3359082" y="1084252"/>
                  <a:pt x="3349886" y="1078166"/>
                </a:cubicBezTo>
                <a:cubicBezTo>
                  <a:pt x="3345288" y="1075124"/>
                  <a:pt x="3343755" y="1067517"/>
                  <a:pt x="3343755" y="1062953"/>
                </a:cubicBezTo>
                <a:cubicBezTo>
                  <a:pt x="3343755" y="1040132"/>
                  <a:pt x="3360615" y="1031004"/>
                  <a:pt x="3380541" y="1031004"/>
                </a:cubicBezTo>
                <a:cubicBezTo>
                  <a:pt x="3386672" y="1031004"/>
                  <a:pt x="3392803" y="1032526"/>
                  <a:pt x="3397401" y="1034047"/>
                </a:cubicBezTo>
                <a:cubicBezTo>
                  <a:pt x="3417327" y="1040132"/>
                  <a:pt x="3421925" y="1055346"/>
                  <a:pt x="3423458" y="1073603"/>
                </a:cubicBezTo>
                <a:cubicBezTo>
                  <a:pt x="3423458" y="1073603"/>
                  <a:pt x="3423458" y="1073603"/>
                  <a:pt x="3444917" y="1073603"/>
                </a:cubicBezTo>
                <a:cubicBezTo>
                  <a:pt x="3444917" y="1073603"/>
                  <a:pt x="3444917" y="1073603"/>
                  <a:pt x="3444917" y="1015791"/>
                </a:cubicBezTo>
                <a:cubicBezTo>
                  <a:pt x="3444917" y="1015791"/>
                  <a:pt x="3444917" y="1015791"/>
                  <a:pt x="3423458" y="1015791"/>
                </a:cubicBezTo>
                <a:cubicBezTo>
                  <a:pt x="3423458" y="1015791"/>
                  <a:pt x="3423458" y="1015791"/>
                  <a:pt x="3423458" y="1034047"/>
                </a:cubicBezTo>
                <a:cubicBezTo>
                  <a:pt x="3412728" y="1017312"/>
                  <a:pt x="3395869" y="1011227"/>
                  <a:pt x="3377475" y="1011227"/>
                </a:cubicBezTo>
                <a:close/>
                <a:moveTo>
                  <a:pt x="1832679" y="1006168"/>
                </a:moveTo>
                <a:cubicBezTo>
                  <a:pt x="1820566" y="1006140"/>
                  <a:pt x="1809117" y="1008250"/>
                  <a:pt x="1798334" y="1012501"/>
                </a:cubicBezTo>
                <a:cubicBezTo>
                  <a:pt x="1787552" y="1016751"/>
                  <a:pt x="1778079" y="1023314"/>
                  <a:pt x="1769917" y="1032188"/>
                </a:cubicBezTo>
                <a:cubicBezTo>
                  <a:pt x="1761649" y="1041542"/>
                  <a:pt x="1755843" y="1051904"/>
                  <a:pt x="1752497" y="1063274"/>
                </a:cubicBezTo>
                <a:cubicBezTo>
                  <a:pt x="1749152" y="1074643"/>
                  <a:pt x="1747540" y="1086462"/>
                  <a:pt x="1747661" y="1098730"/>
                </a:cubicBezTo>
                <a:cubicBezTo>
                  <a:pt x="1747618" y="1110536"/>
                  <a:pt x="1749159" y="1121740"/>
                  <a:pt x="1752283" y="1132345"/>
                </a:cubicBezTo>
                <a:cubicBezTo>
                  <a:pt x="1755408" y="1142949"/>
                  <a:pt x="1760373" y="1153125"/>
                  <a:pt x="1767178" y="1162872"/>
                </a:cubicBezTo>
                <a:cubicBezTo>
                  <a:pt x="1775073" y="1173868"/>
                  <a:pt x="1784387" y="1181674"/>
                  <a:pt x="1795119" y="1186288"/>
                </a:cubicBezTo>
                <a:cubicBezTo>
                  <a:pt x="1805851" y="1190904"/>
                  <a:pt x="1817914" y="1193142"/>
                  <a:pt x="1831307" y="1193006"/>
                </a:cubicBezTo>
                <a:cubicBezTo>
                  <a:pt x="1849605" y="1192787"/>
                  <a:pt x="1864875" y="1188468"/>
                  <a:pt x="1877118" y="1180049"/>
                </a:cubicBezTo>
                <a:cubicBezTo>
                  <a:pt x="1889362" y="1171630"/>
                  <a:pt x="1898556" y="1160429"/>
                  <a:pt x="1904701" y="1146446"/>
                </a:cubicBezTo>
                <a:cubicBezTo>
                  <a:pt x="1910846" y="1132463"/>
                  <a:pt x="1913921" y="1117014"/>
                  <a:pt x="1913925" y="1100102"/>
                </a:cubicBezTo>
                <a:cubicBezTo>
                  <a:pt x="1913963" y="1082962"/>
                  <a:pt x="1911109" y="1067323"/>
                  <a:pt x="1905361" y="1053188"/>
                </a:cubicBezTo>
                <a:cubicBezTo>
                  <a:pt x="1899613" y="1039052"/>
                  <a:pt x="1890740" y="1027736"/>
                  <a:pt x="1878742" y="1019241"/>
                </a:cubicBezTo>
                <a:cubicBezTo>
                  <a:pt x="1866745" y="1010746"/>
                  <a:pt x="1851390" y="1006388"/>
                  <a:pt x="1832679" y="1006168"/>
                </a:cubicBezTo>
                <a:close/>
                <a:moveTo>
                  <a:pt x="2116540" y="1006168"/>
                </a:moveTo>
                <a:cubicBezTo>
                  <a:pt x="2102190" y="1006246"/>
                  <a:pt x="2088785" y="1009599"/>
                  <a:pt x="2076324" y="1016226"/>
                </a:cubicBezTo>
                <a:cubicBezTo>
                  <a:pt x="2063864" y="1022854"/>
                  <a:pt x="2054067" y="1032293"/>
                  <a:pt x="2046933" y="1044544"/>
                </a:cubicBezTo>
                <a:cubicBezTo>
                  <a:pt x="2042182" y="1053044"/>
                  <a:pt x="2038758" y="1062122"/>
                  <a:pt x="2036661" y="1071776"/>
                </a:cubicBezTo>
                <a:cubicBezTo>
                  <a:pt x="2034563" y="1081429"/>
                  <a:pt x="2033536" y="1091097"/>
                  <a:pt x="2033580" y="1100778"/>
                </a:cubicBezTo>
                <a:cubicBezTo>
                  <a:pt x="2033364" y="1128032"/>
                  <a:pt x="2039787" y="1150092"/>
                  <a:pt x="2052851" y="1166959"/>
                </a:cubicBezTo>
                <a:cubicBezTo>
                  <a:pt x="2065917" y="1183825"/>
                  <a:pt x="2086917" y="1192508"/>
                  <a:pt x="2115854" y="1193006"/>
                </a:cubicBezTo>
                <a:cubicBezTo>
                  <a:pt x="2135579" y="1193001"/>
                  <a:pt x="2152295" y="1188135"/>
                  <a:pt x="2166004" y="1178407"/>
                </a:cubicBezTo>
                <a:cubicBezTo>
                  <a:pt x="2179714" y="1168680"/>
                  <a:pt x="2188366" y="1154121"/>
                  <a:pt x="2191960" y="1134731"/>
                </a:cubicBezTo>
                <a:lnTo>
                  <a:pt x="2165594" y="1134731"/>
                </a:lnTo>
                <a:cubicBezTo>
                  <a:pt x="2164023" y="1145597"/>
                  <a:pt x="2158934" y="1154490"/>
                  <a:pt x="2150330" y="1161409"/>
                </a:cubicBezTo>
                <a:cubicBezTo>
                  <a:pt x="2141726" y="1168329"/>
                  <a:pt x="2131835" y="1171903"/>
                  <a:pt x="2120658" y="1172132"/>
                </a:cubicBezTo>
                <a:cubicBezTo>
                  <a:pt x="2111381" y="1172304"/>
                  <a:pt x="2103434" y="1171188"/>
                  <a:pt x="2096816" y="1168787"/>
                </a:cubicBezTo>
                <a:cubicBezTo>
                  <a:pt x="2090197" y="1166385"/>
                  <a:pt x="2083966" y="1161667"/>
                  <a:pt x="2078119" y="1154633"/>
                </a:cubicBezTo>
                <a:cubicBezTo>
                  <a:pt x="2072423" y="1147720"/>
                  <a:pt x="2068464" y="1140186"/>
                  <a:pt x="2066241" y="1132029"/>
                </a:cubicBezTo>
                <a:cubicBezTo>
                  <a:pt x="2064019" y="1123873"/>
                  <a:pt x="2062720" y="1115395"/>
                  <a:pt x="2062342" y="1106595"/>
                </a:cubicBezTo>
                <a:lnTo>
                  <a:pt x="2194356" y="1106595"/>
                </a:lnTo>
                <a:lnTo>
                  <a:pt x="2194356" y="1101805"/>
                </a:lnTo>
                <a:cubicBezTo>
                  <a:pt x="2194370" y="1095296"/>
                  <a:pt x="2194086" y="1089317"/>
                  <a:pt x="2193500" y="1083869"/>
                </a:cubicBezTo>
                <a:cubicBezTo>
                  <a:pt x="2192915" y="1078420"/>
                  <a:pt x="2191945" y="1072518"/>
                  <a:pt x="2190589" y="1066162"/>
                </a:cubicBezTo>
                <a:cubicBezTo>
                  <a:pt x="2188914" y="1057540"/>
                  <a:pt x="2186018" y="1049477"/>
                  <a:pt x="2181901" y="1041972"/>
                </a:cubicBezTo>
                <a:cubicBezTo>
                  <a:pt x="2177786" y="1034467"/>
                  <a:pt x="2172236" y="1027779"/>
                  <a:pt x="2165253" y="1021909"/>
                </a:cubicBezTo>
                <a:cubicBezTo>
                  <a:pt x="2158699" y="1016762"/>
                  <a:pt x="2151053" y="1012855"/>
                  <a:pt x="2142311" y="1010189"/>
                </a:cubicBezTo>
                <a:cubicBezTo>
                  <a:pt x="2133572" y="1007523"/>
                  <a:pt x="2124981" y="1006183"/>
                  <a:pt x="2116540" y="1006168"/>
                </a:cubicBezTo>
                <a:close/>
                <a:moveTo>
                  <a:pt x="2716082" y="1006168"/>
                </a:moveTo>
                <a:cubicBezTo>
                  <a:pt x="2703970" y="1006140"/>
                  <a:pt x="2692520" y="1008250"/>
                  <a:pt x="2681739" y="1012501"/>
                </a:cubicBezTo>
                <a:cubicBezTo>
                  <a:pt x="2670955" y="1016751"/>
                  <a:pt x="2661483" y="1023314"/>
                  <a:pt x="2653320" y="1032188"/>
                </a:cubicBezTo>
                <a:cubicBezTo>
                  <a:pt x="2645054" y="1041542"/>
                  <a:pt x="2639247" y="1051904"/>
                  <a:pt x="2635901" y="1063273"/>
                </a:cubicBezTo>
                <a:cubicBezTo>
                  <a:pt x="2632555" y="1074642"/>
                  <a:pt x="2630944" y="1086461"/>
                  <a:pt x="2631065" y="1098730"/>
                </a:cubicBezTo>
                <a:cubicBezTo>
                  <a:pt x="2631022" y="1110535"/>
                  <a:pt x="2632562" y="1121740"/>
                  <a:pt x="2635687" y="1132344"/>
                </a:cubicBezTo>
                <a:cubicBezTo>
                  <a:pt x="2638811" y="1142949"/>
                  <a:pt x="2643777" y="1153124"/>
                  <a:pt x="2650582" y="1162871"/>
                </a:cubicBezTo>
                <a:cubicBezTo>
                  <a:pt x="2658477" y="1173867"/>
                  <a:pt x="2667790" y="1181673"/>
                  <a:pt x="2678522" y="1186288"/>
                </a:cubicBezTo>
                <a:cubicBezTo>
                  <a:pt x="2689255" y="1190903"/>
                  <a:pt x="2701318" y="1193142"/>
                  <a:pt x="2714710" y="1193006"/>
                </a:cubicBezTo>
                <a:cubicBezTo>
                  <a:pt x="2733009" y="1192787"/>
                  <a:pt x="2748279" y="1188467"/>
                  <a:pt x="2760523" y="1180048"/>
                </a:cubicBezTo>
                <a:cubicBezTo>
                  <a:pt x="2772766" y="1171629"/>
                  <a:pt x="2781960" y="1160428"/>
                  <a:pt x="2788104" y="1146445"/>
                </a:cubicBezTo>
                <a:cubicBezTo>
                  <a:pt x="2794250" y="1132462"/>
                  <a:pt x="2797325" y="1117014"/>
                  <a:pt x="2797329" y="1100102"/>
                </a:cubicBezTo>
                <a:cubicBezTo>
                  <a:pt x="2797366" y="1082961"/>
                  <a:pt x="2794513" y="1067323"/>
                  <a:pt x="2788764" y="1053187"/>
                </a:cubicBezTo>
                <a:cubicBezTo>
                  <a:pt x="2783017" y="1039052"/>
                  <a:pt x="2774144" y="1027736"/>
                  <a:pt x="2762147" y="1019241"/>
                </a:cubicBezTo>
                <a:cubicBezTo>
                  <a:pt x="2750148" y="1010746"/>
                  <a:pt x="2734793" y="1006388"/>
                  <a:pt x="2716082" y="1006168"/>
                </a:cubicBezTo>
                <a:close/>
                <a:moveTo>
                  <a:pt x="3113559" y="1006168"/>
                </a:moveTo>
                <a:cubicBezTo>
                  <a:pt x="3099208" y="1006246"/>
                  <a:pt x="3085802" y="1009599"/>
                  <a:pt x="3073343" y="1016226"/>
                </a:cubicBezTo>
                <a:cubicBezTo>
                  <a:pt x="3060883" y="1022854"/>
                  <a:pt x="3051086" y="1032293"/>
                  <a:pt x="3043952" y="1044544"/>
                </a:cubicBezTo>
                <a:cubicBezTo>
                  <a:pt x="3039201" y="1053044"/>
                  <a:pt x="3035776" y="1062122"/>
                  <a:pt x="3033679" y="1071776"/>
                </a:cubicBezTo>
                <a:cubicBezTo>
                  <a:pt x="3031582" y="1081429"/>
                  <a:pt x="3030555" y="1091097"/>
                  <a:pt x="3030597" y="1100778"/>
                </a:cubicBezTo>
                <a:cubicBezTo>
                  <a:pt x="3030381" y="1128032"/>
                  <a:pt x="3036806" y="1150092"/>
                  <a:pt x="3049870" y="1166959"/>
                </a:cubicBezTo>
                <a:cubicBezTo>
                  <a:pt x="3062935" y="1183825"/>
                  <a:pt x="3083936" y="1192508"/>
                  <a:pt x="3112873" y="1193006"/>
                </a:cubicBezTo>
                <a:cubicBezTo>
                  <a:pt x="3132597" y="1193001"/>
                  <a:pt x="3149313" y="1188135"/>
                  <a:pt x="3163022" y="1178407"/>
                </a:cubicBezTo>
                <a:cubicBezTo>
                  <a:pt x="3176732" y="1168680"/>
                  <a:pt x="3185383" y="1154121"/>
                  <a:pt x="3188978" y="1134731"/>
                </a:cubicBezTo>
                <a:lnTo>
                  <a:pt x="3162613" y="1134731"/>
                </a:lnTo>
                <a:cubicBezTo>
                  <a:pt x="3161042" y="1145597"/>
                  <a:pt x="3155954" y="1154490"/>
                  <a:pt x="3147349" y="1161409"/>
                </a:cubicBezTo>
                <a:cubicBezTo>
                  <a:pt x="3138744" y="1168329"/>
                  <a:pt x="3128853" y="1171903"/>
                  <a:pt x="3117676" y="1172132"/>
                </a:cubicBezTo>
                <a:cubicBezTo>
                  <a:pt x="3108399" y="1172304"/>
                  <a:pt x="3100452" y="1171188"/>
                  <a:pt x="3093834" y="1168787"/>
                </a:cubicBezTo>
                <a:cubicBezTo>
                  <a:pt x="3087216" y="1166385"/>
                  <a:pt x="3080984" y="1161667"/>
                  <a:pt x="3075138" y="1154633"/>
                </a:cubicBezTo>
                <a:cubicBezTo>
                  <a:pt x="3069442" y="1147720"/>
                  <a:pt x="3065483" y="1140186"/>
                  <a:pt x="3063260" y="1132029"/>
                </a:cubicBezTo>
                <a:cubicBezTo>
                  <a:pt x="3061038" y="1123873"/>
                  <a:pt x="3059738" y="1115395"/>
                  <a:pt x="3059360" y="1106595"/>
                </a:cubicBezTo>
                <a:lnTo>
                  <a:pt x="3191375" y="1106595"/>
                </a:lnTo>
                <a:lnTo>
                  <a:pt x="3191375" y="1101805"/>
                </a:lnTo>
                <a:cubicBezTo>
                  <a:pt x="3191389" y="1095296"/>
                  <a:pt x="3191104" y="1089317"/>
                  <a:pt x="3190519" y="1083869"/>
                </a:cubicBezTo>
                <a:cubicBezTo>
                  <a:pt x="3189934" y="1078420"/>
                  <a:pt x="3188964" y="1072518"/>
                  <a:pt x="3187608" y="1066162"/>
                </a:cubicBezTo>
                <a:cubicBezTo>
                  <a:pt x="3185932" y="1057540"/>
                  <a:pt x="3183036" y="1049477"/>
                  <a:pt x="3178920" y="1041972"/>
                </a:cubicBezTo>
                <a:cubicBezTo>
                  <a:pt x="3174804" y="1034467"/>
                  <a:pt x="3169254" y="1027779"/>
                  <a:pt x="3162271" y="1021909"/>
                </a:cubicBezTo>
                <a:cubicBezTo>
                  <a:pt x="3155717" y="1016762"/>
                  <a:pt x="3148071" y="1012855"/>
                  <a:pt x="3139330" y="1010189"/>
                </a:cubicBezTo>
                <a:cubicBezTo>
                  <a:pt x="3130590" y="1007523"/>
                  <a:pt x="3121999" y="1006183"/>
                  <a:pt x="3113559" y="1006168"/>
                </a:cubicBezTo>
                <a:close/>
                <a:moveTo>
                  <a:pt x="713870" y="999971"/>
                </a:moveTo>
                <a:cubicBezTo>
                  <a:pt x="699931" y="1006170"/>
                  <a:pt x="693736" y="1023217"/>
                  <a:pt x="699931" y="1037164"/>
                </a:cubicBezTo>
                <a:cubicBezTo>
                  <a:pt x="706126" y="1051114"/>
                  <a:pt x="721614" y="1058862"/>
                  <a:pt x="737102" y="1052663"/>
                </a:cubicBezTo>
                <a:cubicBezTo>
                  <a:pt x="751041" y="1046463"/>
                  <a:pt x="757236" y="1029416"/>
                  <a:pt x="751041" y="1015468"/>
                </a:cubicBezTo>
                <a:cubicBezTo>
                  <a:pt x="744845" y="1001521"/>
                  <a:pt x="727809" y="993772"/>
                  <a:pt x="713870" y="999971"/>
                </a:cubicBezTo>
                <a:close/>
                <a:moveTo>
                  <a:pt x="869692" y="998281"/>
                </a:moveTo>
                <a:cubicBezTo>
                  <a:pt x="865180" y="1004296"/>
                  <a:pt x="865180" y="1011816"/>
                  <a:pt x="869692" y="1017832"/>
                </a:cubicBezTo>
                <a:cubicBezTo>
                  <a:pt x="875708" y="1022344"/>
                  <a:pt x="883227" y="1022344"/>
                  <a:pt x="887739" y="1016328"/>
                </a:cubicBezTo>
                <a:cubicBezTo>
                  <a:pt x="893755" y="1011816"/>
                  <a:pt x="893755" y="1002792"/>
                  <a:pt x="887739" y="998281"/>
                </a:cubicBezTo>
                <a:cubicBezTo>
                  <a:pt x="883227" y="993769"/>
                  <a:pt x="874204" y="993769"/>
                  <a:pt x="869692" y="998281"/>
                </a:cubicBezTo>
                <a:close/>
                <a:moveTo>
                  <a:pt x="839273" y="992880"/>
                </a:moveTo>
                <a:cubicBezTo>
                  <a:pt x="835082" y="992118"/>
                  <a:pt x="830510" y="992880"/>
                  <a:pt x="826700" y="995166"/>
                </a:cubicBezTo>
                <a:cubicBezTo>
                  <a:pt x="819080" y="1001262"/>
                  <a:pt x="817556" y="1011930"/>
                  <a:pt x="822128" y="1019550"/>
                </a:cubicBezTo>
                <a:cubicBezTo>
                  <a:pt x="828224" y="1027170"/>
                  <a:pt x="838892" y="1028694"/>
                  <a:pt x="844988" y="1022598"/>
                </a:cubicBezTo>
                <a:cubicBezTo>
                  <a:pt x="852608" y="1018026"/>
                  <a:pt x="855656" y="1007358"/>
                  <a:pt x="849560" y="999738"/>
                </a:cubicBezTo>
                <a:cubicBezTo>
                  <a:pt x="847274" y="995928"/>
                  <a:pt x="843464" y="993642"/>
                  <a:pt x="839273" y="992880"/>
                </a:cubicBezTo>
                <a:close/>
                <a:moveTo>
                  <a:pt x="1222902" y="992069"/>
                </a:moveTo>
                <a:cubicBezTo>
                  <a:pt x="1207405" y="987422"/>
                  <a:pt x="1191908" y="993617"/>
                  <a:pt x="1185709" y="1009105"/>
                </a:cubicBezTo>
                <a:cubicBezTo>
                  <a:pt x="1179510" y="1023044"/>
                  <a:pt x="1187259" y="1038532"/>
                  <a:pt x="1201206" y="1044727"/>
                </a:cubicBezTo>
                <a:cubicBezTo>
                  <a:pt x="1216703" y="1050924"/>
                  <a:pt x="1232200" y="1043178"/>
                  <a:pt x="1238399" y="1029239"/>
                </a:cubicBezTo>
                <a:cubicBezTo>
                  <a:pt x="1244598" y="1015300"/>
                  <a:pt x="1236850" y="998264"/>
                  <a:pt x="1222902" y="992069"/>
                </a:cubicBezTo>
                <a:close/>
                <a:moveTo>
                  <a:pt x="1054929" y="990323"/>
                </a:moveTo>
                <a:cubicBezTo>
                  <a:pt x="1051545" y="990511"/>
                  <a:pt x="1048161" y="992015"/>
                  <a:pt x="1045905" y="995023"/>
                </a:cubicBezTo>
                <a:cubicBezTo>
                  <a:pt x="1041393" y="999535"/>
                  <a:pt x="1041393" y="1007054"/>
                  <a:pt x="1045905" y="1013070"/>
                </a:cubicBezTo>
                <a:cubicBezTo>
                  <a:pt x="1051921" y="1017582"/>
                  <a:pt x="1059441" y="1017582"/>
                  <a:pt x="1065457" y="1011566"/>
                </a:cubicBezTo>
                <a:cubicBezTo>
                  <a:pt x="1069968" y="1007054"/>
                  <a:pt x="1069968" y="998031"/>
                  <a:pt x="1063952" y="993519"/>
                </a:cubicBezTo>
                <a:cubicBezTo>
                  <a:pt x="1061697" y="991263"/>
                  <a:pt x="1058313" y="990135"/>
                  <a:pt x="1054929" y="990323"/>
                </a:cubicBezTo>
                <a:close/>
                <a:moveTo>
                  <a:pt x="1098288" y="985704"/>
                </a:moveTo>
                <a:cubicBezTo>
                  <a:pt x="1094098" y="986847"/>
                  <a:pt x="1090287" y="989514"/>
                  <a:pt x="1087240" y="993324"/>
                </a:cubicBezTo>
                <a:cubicBezTo>
                  <a:pt x="1082667" y="1000944"/>
                  <a:pt x="1085715" y="1011612"/>
                  <a:pt x="1093335" y="1016184"/>
                </a:cubicBezTo>
                <a:cubicBezTo>
                  <a:pt x="1100956" y="1020756"/>
                  <a:pt x="1111623" y="1019232"/>
                  <a:pt x="1116195" y="1010088"/>
                </a:cubicBezTo>
                <a:cubicBezTo>
                  <a:pt x="1120767" y="1002468"/>
                  <a:pt x="1119243" y="991800"/>
                  <a:pt x="1111623" y="987228"/>
                </a:cubicBezTo>
                <a:cubicBezTo>
                  <a:pt x="1107051" y="984942"/>
                  <a:pt x="1102479" y="984561"/>
                  <a:pt x="1098288" y="985704"/>
                </a:cubicBezTo>
                <a:close/>
                <a:moveTo>
                  <a:pt x="785043" y="981067"/>
                </a:moveTo>
                <a:cubicBezTo>
                  <a:pt x="775932" y="982654"/>
                  <a:pt x="768340" y="990592"/>
                  <a:pt x="769858" y="1000117"/>
                </a:cubicBezTo>
                <a:cubicBezTo>
                  <a:pt x="769858" y="1009642"/>
                  <a:pt x="777451" y="1015992"/>
                  <a:pt x="786562" y="1015992"/>
                </a:cubicBezTo>
                <a:cubicBezTo>
                  <a:pt x="795673" y="1015992"/>
                  <a:pt x="803265" y="1008054"/>
                  <a:pt x="803265" y="998529"/>
                </a:cubicBezTo>
                <a:cubicBezTo>
                  <a:pt x="801746" y="989004"/>
                  <a:pt x="794154" y="981067"/>
                  <a:pt x="785043" y="981067"/>
                </a:cubicBezTo>
                <a:close/>
                <a:moveTo>
                  <a:pt x="1152738" y="971666"/>
                </a:moveTo>
                <a:cubicBezTo>
                  <a:pt x="1148364" y="971856"/>
                  <a:pt x="1144180" y="973758"/>
                  <a:pt x="1141137" y="977561"/>
                </a:cubicBezTo>
                <a:cubicBezTo>
                  <a:pt x="1135052" y="983647"/>
                  <a:pt x="1135052" y="994297"/>
                  <a:pt x="1141137" y="1000382"/>
                </a:cubicBezTo>
                <a:cubicBezTo>
                  <a:pt x="1148745" y="1006468"/>
                  <a:pt x="1159394" y="1006468"/>
                  <a:pt x="1165479" y="1000382"/>
                </a:cubicBezTo>
                <a:cubicBezTo>
                  <a:pt x="1171565" y="992775"/>
                  <a:pt x="1171565" y="982126"/>
                  <a:pt x="1165479" y="976040"/>
                </a:cubicBezTo>
                <a:cubicBezTo>
                  <a:pt x="1161677" y="972997"/>
                  <a:pt x="1157112" y="971476"/>
                  <a:pt x="1152738" y="971666"/>
                </a:cubicBezTo>
                <a:close/>
                <a:moveTo>
                  <a:pt x="1581063" y="967722"/>
                </a:moveTo>
                <a:lnTo>
                  <a:pt x="1623259" y="967722"/>
                </a:lnTo>
                <a:cubicBezTo>
                  <a:pt x="1629455" y="967557"/>
                  <a:pt x="1635930" y="967886"/>
                  <a:pt x="1642684" y="968708"/>
                </a:cubicBezTo>
                <a:cubicBezTo>
                  <a:pt x="1649438" y="969530"/>
                  <a:pt x="1655313" y="971831"/>
                  <a:pt x="1660309" y="975612"/>
                </a:cubicBezTo>
                <a:cubicBezTo>
                  <a:pt x="1665562" y="980207"/>
                  <a:pt x="1669293" y="985768"/>
                  <a:pt x="1671501" y="992293"/>
                </a:cubicBezTo>
                <a:cubicBezTo>
                  <a:pt x="1673709" y="998818"/>
                  <a:pt x="1674782" y="1005494"/>
                  <a:pt x="1674717" y="1012319"/>
                </a:cubicBezTo>
                <a:cubicBezTo>
                  <a:pt x="1674767" y="1019374"/>
                  <a:pt x="1673552" y="1026363"/>
                  <a:pt x="1671072" y="1033289"/>
                </a:cubicBezTo>
                <a:cubicBezTo>
                  <a:pt x="1668592" y="1040215"/>
                  <a:pt x="1664547" y="1045918"/>
                  <a:pt x="1658937" y="1050399"/>
                </a:cubicBezTo>
                <a:cubicBezTo>
                  <a:pt x="1652719" y="1054838"/>
                  <a:pt x="1645514" y="1057539"/>
                  <a:pt x="1637324" y="1058504"/>
                </a:cubicBezTo>
                <a:cubicBezTo>
                  <a:pt x="1629134" y="1059469"/>
                  <a:pt x="1621243" y="1059855"/>
                  <a:pt x="1613653" y="1059662"/>
                </a:cubicBezTo>
                <a:lnTo>
                  <a:pt x="1581063" y="1059662"/>
                </a:lnTo>
                <a:close/>
                <a:moveTo>
                  <a:pt x="625753" y="957072"/>
                </a:moveTo>
                <a:cubicBezTo>
                  <a:pt x="605925" y="961648"/>
                  <a:pt x="593722" y="979951"/>
                  <a:pt x="598298" y="999779"/>
                </a:cubicBezTo>
                <a:cubicBezTo>
                  <a:pt x="602874" y="1018082"/>
                  <a:pt x="621177" y="1030285"/>
                  <a:pt x="641005" y="1027234"/>
                </a:cubicBezTo>
                <a:cubicBezTo>
                  <a:pt x="659308" y="1022658"/>
                  <a:pt x="671510" y="1004355"/>
                  <a:pt x="668460" y="984527"/>
                </a:cubicBezTo>
                <a:cubicBezTo>
                  <a:pt x="663884" y="964699"/>
                  <a:pt x="645581" y="952497"/>
                  <a:pt x="625753" y="957072"/>
                </a:cubicBezTo>
                <a:close/>
                <a:moveTo>
                  <a:pt x="1930387" y="949314"/>
                </a:moveTo>
                <a:lnTo>
                  <a:pt x="1930387" y="969951"/>
                </a:lnTo>
                <a:lnTo>
                  <a:pt x="1958962" y="969951"/>
                </a:lnTo>
                <a:lnTo>
                  <a:pt x="1958962" y="1171565"/>
                </a:lnTo>
                <a:lnTo>
                  <a:pt x="1930387" y="1171565"/>
                </a:lnTo>
                <a:lnTo>
                  <a:pt x="1930387" y="1192202"/>
                </a:lnTo>
                <a:lnTo>
                  <a:pt x="2012937" y="1192202"/>
                </a:lnTo>
                <a:lnTo>
                  <a:pt x="2012937" y="1171565"/>
                </a:lnTo>
                <a:lnTo>
                  <a:pt x="1985950" y="1171565"/>
                </a:lnTo>
                <a:lnTo>
                  <a:pt x="1985950" y="949314"/>
                </a:lnTo>
                <a:close/>
                <a:moveTo>
                  <a:pt x="3209913" y="949314"/>
                </a:moveTo>
                <a:lnTo>
                  <a:pt x="3209913" y="969951"/>
                </a:lnTo>
                <a:lnTo>
                  <a:pt x="3236900" y="969951"/>
                </a:lnTo>
                <a:lnTo>
                  <a:pt x="3236900" y="1171565"/>
                </a:lnTo>
                <a:lnTo>
                  <a:pt x="3209913" y="1171565"/>
                </a:lnTo>
                <a:lnTo>
                  <a:pt x="3209913" y="1192202"/>
                </a:lnTo>
                <a:lnTo>
                  <a:pt x="3292463" y="1192202"/>
                </a:lnTo>
                <a:lnTo>
                  <a:pt x="3292463" y="1171565"/>
                </a:lnTo>
                <a:lnTo>
                  <a:pt x="3265475" y="1171565"/>
                </a:lnTo>
                <a:lnTo>
                  <a:pt x="3265475" y="949314"/>
                </a:lnTo>
                <a:close/>
                <a:moveTo>
                  <a:pt x="2309800" y="949314"/>
                </a:moveTo>
                <a:lnTo>
                  <a:pt x="2309800" y="973126"/>
                </a:lnTo>
                <a:lnTo>
                  <a:pt x="2344725" y="973126"/>
                </a:lnTo>
                <a:lnTo>
                  <a:pt x="2344725" y="1169977"/>
                </a:lnTo>
                <a:lnTo>
                  <a:pt x="2309800" y="1169977"/>
                </a:lnTo>
                <a:lnTo>
                  <a:pt x="2309800" y="1192202"/>
                </a:lnTo>
                <a:lnTo>
                  <a:pt x="2401875" y="1192202"/>
                </a:lnTo>
                <a:lnTo>
                  <a:pt x="2401875" y="1169977"/>
                </a:lnTo>
                <a:lnTo>
                  <a:pt x="2370125" y="1169977"/>
                </a:lnTo>
                <a:lnTo>
                  <a:pt x="2370125" y="973126"/>
                </a:lnTo>
                <a:lnTo>
                  <a:pt x="2371713" y="973126"/>
                </a:lnTo>
                <a:lnTo>
                  <a:pt x="2446326" y="1192202"/>
                </a:lnTo>
                <a:lnTo>
                  <a:pt x="2471726" y="1192202"/>
                </a:lnTo>
                <a:lnTo>
                  <a:pt x="2543163" y="973126"/>
                </a:lnTo>
                <a:lnTo>
                  <a:pt x="2546338" y="973126"/>
                </a:lnTo>
                <a:lnTo>
                  <a:pt x="2546338" y="1169977"/>
                </a:lnTo>
                <a:lnTo>
                  <a:pt x="2514588" y="1169977"/>
                </a:lnTo>
                <a:lnTo>
                  <a:pt x="2514588" y="1192202"/>
                </a:lnTo>
                <a:lnTo>
                  <a:pt x="2609838" y="1192202"/>
                </a:lnTo>
                <a:lnTo>
                  <a:pt x="2609838" y="1169977"/>
                </a:lnTo>
                <a:lnTo>
                  <a:pt x="2573326" y="1169977"/>
                </a:lnTo>
                <a:lnTo>
                  <a:pt x="2573326" y="973126"/>
                </a:lnTo>
                <a:lnTo>
                  <a:pt x="2609838" y="973126"/>
                </a:lnTo>
                <a:lnTo>
                  <a:pt x="2609838" y="949314"/>
                </a:lnTo>
                <a:lnTo>
                  <a:pt x="2524113" y="949314"/>
                </a:lnTo>
                <a:lnTo>
                  <a:pt x="2459025" y="1157277"/>
                </a:lnTo>
                <a:lnTo>
                  <a:pt x="2397113" y="949314"/>
                </a:lnTo>
                <a:close/>
                <a:moveTo>
                  <a:pt x="1303083" y="947609"/>
                </a:moveTo>
                <a:cubicBezTo>
                  <a:pt x="1284794" y="944561"/>
                  <a:pt x="1266507" y="956753"/>
                  <a:pt x="1261934" y="976565"/>
                </a:cubicBezTo>
                <a:cubicBezTo>
                  <a:pt x="1258887" y="996377"/>
                  <a:pt x="1271079" y="1014665"/>
                  <a:pt x="1290890" y="1017713"/>
                </a:cubicBezTo>
                <a:cubicBezTo>
                  <a:pt x="1310703" y="1020761"/>
                  <a:pt x="1328990" y="1008569"/>
                  <a:pt x="1332039" y="988757"/>
                </a:cubicBezTo>
                <a:cubicBezTo>
                  <a:pt x="1335088" y="970469"/>
                  <a:pt x="1322895" y="950657"/>
                  <a:pt x="1303083" y="947609"/>
                </a:cubicBezTo>
                <a:close/>
                <a:moveTo>
                  <a:pt x="1516297" y="945133"/>
                </a:moveTo>
                <a:lnTo>
                  <a:pt x="1516297" y="967722"/>
                </a:lnTo>
                <a:lnTo>
                  <a:pt x="1551273" y="967722"/>
                </a:lnTo>
                <a:lnTo>
                  <a:pt x="1551273" y="1168018"/>
                </a:lnTo>
                <a:lnTo>
                  <a:pt x="1516297" y="1168018"/>
                </a:lnTo>
                <a:lnTo>
                  <a:pt x="1516297" y="1190607"/>
                </a:lnTo>
                <a:lnTo>
                  <a:pt x="1614339" y="1190607"/>
                </a:lnTo>
                <a:lnTo>
                  <a:pt x="1614339" y="1168018"/>
                </a:lnTo>
                <a:lnTo>
                  <a:pt x="1581063" y="1168018"/>
                </a:lnTo>
                <a:lnTo>
                  <a:pt x="1581063" y="1082593"/>
                </a:lnTo>
                <a:lnTo>
                  <a:pt x="1614682" y="1082593"/>
                </a:lnTo>
                <a:cubicBezTo>
                  <a:pt x="1619028" y="1082515"/>
                  <a:pt x="1623459" y="1082672"/>
                  <a:pt x="1627976" y="1083065"/>
                </a:cubicBezTo>
                <a:cubicBezTo>
                  <a:pt x="1632493" y="1083458"/>
                  <a:pt x="1636752" y="1084559"/>
                  <a:pt x="1640755" y="1086367"/>
                </a:cubicBezTo>
                <a:cubicBezTo>
                  <a:pt x="1646801" y="1089476"/>
                  <a:pt x="1651346" y="1093979"/>
                  <a:pt x="1654391" y="1099875"/>
                </a:cubicBezTo>
                <a:cubicBezTo>
                  <a:pt x="1657436" y="1105772"/>
                  <a:pt x="1659751" y="1111904"/>
                  <a:pt x="1661338" y="1118273"/>
                </a:cubicBezTo>
                <a:lnTo>
                  <a:pt x="1681908" y="1190607"/>
                </a:lnTo>
                <a:lnTo>
                  <a:pt x="1732282" y="1190607"/>
                </a:lnTo>
                <a:lnTo>
                  <a:pt x="1732282" y="1168018"/>
                </a:lnTo>
                <a:lnTo>
                  <a:pt x="1705878" y="1168018"/>
                </a:lnTo>
                <a:lnTo>
                  <a:pt x="1690468" y="1113127"/>
                </a:lnTo>
                <a:cubicBezTo>
                  <a:pt x="1687608" y="1100869"/>
                  <a:pt x="1683912" y="1091765"/>
                  <a:pt x="1679377" y="1085816"/>
                </a:cubicBezTo>
                <a:cubicBezTo>
                  <a:pt x="1674843" y="1079866"/>
                  <a:pt x="1666086" y="1075484"/>
                  <a:pt x="1653105" y="1072668"/>
                </a:cubicBezTo>
                <a:cubicBezTo>
                  <a:pt x="1671158" y="1070742"/>
                  <a:pt x="1684324" y="1063801"/>
                  <a:pt x="1692603" y="1051845"/>
                </a:cubicBezTo>
                <a:cubicBezTo>
                  <a:pt x="1700882" y="1039888"/>
                  <a:pt x="1704965" y="1025226"/>
                  <a:pt x="1704850" y="1007859"/>
                </a:cubicBezTo>
                <a:cubicBezTo>
                  <a:pt x="1704857" y="997674"/>
                  <a:pt x="1702788" y="987856"/>
                  <a:pt x="1698643" y="978404"/>
                </a:cubicBezTo>
                <a:cubicBezTo>
                  <a:pt x="1694499" y="968952"/>
                  <a:pt x="1688235" y="961284"/>
                  <a:pt x="1679853" y="955401"/>
                </a:cubicBezTo>
                <a:cubicBezTo>
                  <a:pt x="1671174" y="950181"/>
                  <a:pt x="1661357" y="947100"/>
                  <a:pt x="1650402" y="946159"/>
                </a:cubicBezTo>
                <a:cubicBezTo>
                  <a:pt x="1639446" y="945218"/>
                  <a:pt x="1629026" y="944876"/>
                  <a:pt x="1619142" y="945133"/>
                </a:cubicBezTo>
                <a:close/>
                <a:moveTo>
                  <a:pt x="2924989" y="945133"/>
                </a:moveTo>
                <a:lnTo>
                  <a:pt x="2924989" y="965320"/>
                </a:lnTo>
                <a:lnTo>
                  <a:pt x="2954490" y="965320"/>
                </a:lnTo>
                <a:lnTo>
                  <a:pt x="2954490" y="1040762"/>
                </a:lnTo>
                <a:cubicBezTo>
                  <a:pt x="2954290" y="1040105"/>
                  <a:pt x="2954004" y="1039533"/>
                  <a:pt x="2953633" y="1039047"/>
                </a:cubicBezTo>
                <a:cubicBezTo>
                  <a:pt x="2953261" y="1038561"/>
                  <a:pt x="2952975" y="1037990"/>
                  <a:pt x="2952775" y="1037332"/>
                </a:cubicBezTo>
                <a:cubicBezTo>
                  <a:pt x="2946386" y="1026742"/>
                  <a:pt x="2938410" y="1018893"/>
                  <a:pt x="2928848" y="1013787"/>
                </a:cubicBezTo>
                <a:cubicBezTo>
                  <a:pt x="2919286" y="1008679"/>
                  <a:pt x="2908394" y="1006141"/>
                  <a:pt x="2896173" y="1006169"/>
                </a:cubicBezTo>
                <a:cubicBezTo>
                  <a:pt x="2878624" y="1006434"/>
                  <a:pt x="2864342" y="1010892"/>
                  <a:pt x="2853326" y="1019546"/>
                </a:cubicBezTo>
                <a:cubicBezTo>
                  <a:pt x="2842311" y="1028201"/>
                  <a:pt x="2834230" y="1039465"/>
                  <a:pt x="2829083" y="1053341"/>
                </a:cubicBezTo>
                <a:cubicBezTo>
                  <a:pt x="2823936" y="1067216"/>
                  <a:pt x="2821390" y="1082117"/>
                  <a:pt x="2821445" y="1098045"/>
                </a:cubicBezTo>
                <a:cubicBezTo>
                  <a:pt x="2821460" y="1110386"/>
                  <a:pt x="2822458" y="1121291"/>
                  <a:pt x="2824441" y="1130759"/>
                </a:cubicBezTo>
                <a:cubicBezTo>
                  <a:pt x="2826424" y="1140227"/>
                  <a:pt x="2829306" y="1148302"/>
                  <a:pt x="2833087" y="1154983"/>
                </a:cubicBezTo>
                <a:cubicBezTo>
                  <a:pt x="2840627" y="1167813"/>
                  <a:pt x="2849866" y="1177363"/>
                  <a:pt x="2860803" y="1183634"/>
                </a:cubicBezTo>
                <a:cubicBezTo>
                  <a:pt x="2871740" y="1189904"/>
                  <a:pt x="2883302" y="1193029"/>
                  <a:pt x="2895487" y="1193006"/>
                </a:cubicBezTo>
                <a:cubicBezTo>
                  <a:pt x="2909223" y="1193008"/>
                  <a:pt x="2921287" y="1189841"/>
                  <a:pt x="2931678" y="1183506"/>
                </a:cubicBezTo>
                <a:cubicBezTo>
                  <a:pt x="2942069" y="1177171"/>
                  <a:pt x="2949674" y="1167664"/>
                  <a:pt x="2954490" y="1154983"/>
                </a:cubicBezTo>
                <a:lnTo>
                  <a:pt x="2954490" y="1190607"/>
                </a:lnTo>
                <a:lnTo>
                  <a:pt x="3011026" y="1190607"/>
                </a:lnTo>
                <a:lnTo>
                  <a:pt x="3011026" y="1169046"/>
                </a:lnTo>
                <a:lnTo>
                  <a:pt x="2982223" y="1169046"/>
                </a:lnTo>
                <a:lnTo>
                  <a:pt x="2982223" y="945133"/>
                </a:lnTo>
                <a:close/>
                <a:moveTo>
                  <a:pt x="807394" y="935030"/>
                </a:moveTo>
                <a:cubicBezTo>
                  <a:pt x="798250" y="938205"/>
                  <a:pt x="792154" y="947731"/>
                  <a:pt x="795202" y="957256"/>
                </a:cubicBezTo>
                <a:cubicBezTo>
                  <a:pt x="796726" y="966780"/>
                  <a:pt x="805870" y="971543"/>
                  <a:pt x="815014" y="969955"/>
                </a:cubicBezTo>
                <a:cubicBezTo>
                  <a:pt x="824158" y="968368"/>
                  <a:pt x="830254" y="958843"/>
                  <a:pt x="827206" y="949318"/>
                </a:cubicBezTo>
                <a:cubicBezTo>
                  <a:pt x="825682" y="939793"/>
                  <a:pt x="816538" y="933443"/>
                  <a:pt x="807394" y="935030"/>
                </a:cubicBezTo>
                <a:close/>
                <a:moveTo>
                  <a:pt x="1126193" y="928613"/>
                </a:moveTo>
                <a:cubicBezTo>
                  <a:pt x="1117065" y="927094"/>
                  <a:pt x="1107937" y="933168"/>
                  <a:pt x="1106415" y="942279"/>
                </a:cubicBezTo>
                <a:cubicBezTo>
                  <a:pt x="1104894" y="951390"/>
                  <a:pt x="1110980" y="958983"/>
                  <a:pt x="1120108" y="960501"/>
                </a:cubicBezTo>
                <a:cubicBezTo>
                  <a:pt x="1129237" y="962020"/>
                  <a:pt x="1138364" y="955946"/>
                  <a:pt x="1139886" y="946835"/>
                </a:cubicBezTo>
                <a:cubicBezTo>
                  <a:pt x="1141408" y="937724"/>
                  <a:pt x="1135323" y="930131"/>
                  <a:pt x="1126193" y="928613"/>
                </a:cubicBezTo>
                <a:close/>
                <a:moveTo>
                  <a:pt x="840574" y="908044"/>
                </a:moveTo>
                <a:cubicBezTo>
                  <a:pt x="833078" y="908044"/>
                  <a:pt x="827080" y="914020"/>
                  <a:pt x="827080" y="921491"/>
                </a:cubicBezTo>
                <a:cubicBezTo>
                  <a:pt x="827080" y="927467"/>
                  <a:pt x="833078" y="933444"/>
                  <a:pt x="840574" y="933444"/>
                </a:cubicBezTo>
                <a:cubicBezTo>
                  <a:pt x="848071" y="933444"/>
                  <a:pt x="854068" y="927467"/>
                  <a:pt x="854068" y="919997"/>
                </a:cubicBezTo>
                <a:cubicBezTo>
                  <a:pt x="852569" y="914020"/>
                  <a:pt x="846571" y="908044"/>
                  <a:pt x="840574" y="908044"/>
                </a:cubicBezTo>
                <a:close/>
                <a:moveTo>
                  <a:pt x="740295" y="904758"/>
                </a:moveTo>
                <a:cubicBezTo>
                  <a:pt x="729553" y="901692"/>
                  <a:pt x="718811" y="906291"/>
                  <a:pt x="714207" y="917020"/>
                </a:cubicBezTo>
                <a:cubicBezTo>
                  <a:pt x="709603" y="926217"/>
                  <a:pt x="715741" y="938479"/>
                  <a:pt x="724949" y="941544"/>
                </a:cubicBezTo>
                <a:cubicBezTo>
                  <a:pt x="735691" y="946142"/>
                  <a:pt x="747968" y="940011"/>
                  <a:pt x="751037" y="930815"/>
                </a:cubicBezTo>
                <a:cubicBezTo>
                  <a:pt x="755641" y="920086"/>
                  <a:pt x="749503" y="909356"/>
                  <a:pt x="740295" y="904758"/>
                </a:cubicBezTo>
                <a:close/>
                <a:moveTo>
                  <a:pt x="1088271" y="901694"/>
                </a:moveTo>
                <a:cubicBezTo>
                  <a:pt x="1082294" y="901694"/>
                  <a:pt x="1076318" y="908044"/>
                  <a:pt x="1076318" y="914394"/>
                </a:cubicBezTo>
                <a:cubicBezTo>
                  <a:pt x="1076318" y="922332"/>
                  <a:pt x="1082294" y="928682"/>
                  <a:pt x="1089765" y="928682"/>
                </a:cubicBezTo>
                <a:cubicBezTo>
                  <a:pt x="1097236" y="928682"/>
                  <a:pt x="1101719" y="922332"/>
                  <a:pt x="1101719" y="914394"/>
                </a:cubicBezTo>
                <a:cubicBezTo>
                  <a:pt x="1101719" y="906456"/>
                  <a:pt x="1095743" y="901694"/>
                  <a:pt x="1088271" y="901694"/>
                </a:cubicBezTo>
                <a:close/>
                <a:moveTo>
                  <a:pt x="555303" y="893840"/>
                </a:moveTo>
                <a:cubicBezTo>
                  <a:pt x="546710" y="890403"/>
                  <a:pt x="536781" y="890403"/>
                  <a:pt x="527615" y="894986"/>
                </a:cubicBezTo>
                <a:cubicBezTo>
                  <a:pt x="510811" y="902624"/>
                  <a:pt x="501646" y="922483"/>
                  <a:pt x="509284" y="940814"/>
                </a:cubicBezTo>
                <a:cubicBezTo>
                  <a:pt x="516922" y="959145"/>
                  <a:pt x="538308" y="966783"/>
                  <a:pt x="556639" y="959145"/>
                </a:cubicBezTo>
                <a:cubicBezTo>
                  <a:pt x="574971" y="951507"/>
                  <a:pt x="582609" y="931649"/>
                  <a:pt x="574971" y="913317"/>
                </a:cubicBezTo>
                <a:cubicBezTo>
                  <a:pt x="571152" y="904152"/>
                  <a:pt x="563896" y="897277"/>
                  <a:pt x="555303" y="893840"/>
                </a:cubicBezTo>
                <a:close/>
                <a:moveTo>
                  <a:pt x="1191712" y="891621"/>
                </a:moveTo>
                <a:cubicBezTo>
                  <a:pt x="1187113" y="893537"/>
                  <a:pt x="1183281" y="897368"/>
                  <a:pt x="1180982" y="902733"/>
                </a:cubicBezTo>
                <a:cubicBezTo>
                  <a:pt x="1177916" y="913462"/>
                  <a:pt x="1182514" y="924192"/>
                  <a:pt x="1193244" y="928790"/>
                </a:cubicBezTo>
                <a:cubicBezTo>
                  <a:pt x="1203974" y="931855"/>
                  <a:pt x="1214702" y="927257"/>
                  <a:pt x="1219301" y="916528"/>
                </a:cubicBezTo>
                <a:cubicBezTo>
                  <a:pt x="1222366" y="907331"/>
                  <a:pt x="1217768" y="895069"/>
                  <a:pt x="1207039" y="892004"/>
                </a:cubicBezTo>
                <a:cubicBezTo>
                  <a:pt x="1201674" y="889705"/>
                  <a:pt x="1196309" y="889705"/>
                  <a:pt x="1191712" y="891621"/>
                </a:cubicBezTo>
                <a:close/>
                <a:moveTo>
                  <a:pt x="1370577" y="883933"/>
                </a:moveTo>
                <a:cubicBezTo>
                  <a:pt x="1352246" y="891571"/>
                  <a:pt x="1344608" y="912958"/>
                  <a:pt x="1352246" y="931289"/>
                </a:cubicBezTo>
                <a:cubicBezTo>
                  <a:pt x="1359883" y="949620"/>
                  <a:pt x="1381270" y="957258"/>
                  <a:pt x="1398074" y="949620"/>
                </a:cubicBezTo>
                <a:cubicBezTo>
                  <a:pt x="1416405" y="941982"/>
                  <a:pt x="1425571" y="920596"/>
                  <a:pt x="1417934" y="903792"/>
                </a:cubicBezTo>
                <a:cubicBezTo>
                  <a:pt x="1410296" y="885461"/>
                  <a:pt x="1388909" y="876295"/>
                  <a:pt x="1370577" y="883933"/>
                </a:cubicBezTo>
                <a:close/>
                <a:moveTo>
                  <a:pt x="811869" y="874638"/>
                </a:moveTo>
                <a:cubicBezTo>
                  <a:pt x="802740" y="873120"/>
                  <a:pt x="795133" y="879194"/>
                  <a:pt x="792091" y="888304"/>
                </a:cubicBezTo>
                <a:cubicBezTo>
                  <a:pt x="790569" y="897415"/>
                  <a:pt x="796655" y="905008"/>
                  <a:pt x="805783" y="906526"/>
                </a:cubicBezTo>
                <a:cubicBezTo>
                  <a:pt x="814911" y="908045"/>
                  <a:pt x="824040" y="901971"/>
                  <a:pt x="825561" y="892860"/>
                </a:cubicBezTo>
                <a:cubicBezTo>
                  <a:pt x="827082" y="883749"/>
                  <a:pt x="820997" y="876157"/>
                  <a:pt x="811869" y="874638"/>
                </a:cubicBezTo>
                <a:close/>
                <a:moveTo>
                  <a:pt x="1118519" y="865114"/>
                </a:moveTo>
                <a:cubicBezTo>
                  <a:pt x="1109389" y="866636"/>
                  <a:pt x="1103304" y="875764"/>
                  <a:pt x="1104825" y="884892"/>
                </a:cubicBezTo>
                <a:cubicBezTo>
                  <a:pt x="1107868" y="894020"/>
                  <a:pt x="1116996" y="900106"/>
                  <a:pt x="1126124" y="897063"/>
                </a:cubicBezTo>
                <a:cubicBezTo>
                  <a:pt x="1135253" y="895542"/>
                  <a:pt x="1139817" y="886414"/>
                  <a:pt x="1138295" y="877285"/>
                </a:cubicBezTo>
                <a:cubicBezTo>
                  <a:pt x="1136775" y="868157"/>
                  <a:pt x="1127646" y="863593"/>
                  <a:pt x="1118519" y="865114"/>
                </a:cubicBezTo>
                <a:close/>
                <a:moveTo>
                  <a:pt x="781073" y="830188"/>
                </a:moveTo>
                <a:cubicBezTo>
                  <a:pt x="776889" y="830188"/>
                  <a:pt x="772705" y="831709"/>
                  <a:pt x="769662" y="834752"/>
                </a:cubicBezTo>
                <a:cubicBezTo>
                  <a:pt x="763577" y="842359"/>
                  <a:pt x="763577" y="853009"/>
                  <a:pt x="769662" y="859094"/>
                </a:cubicBezTo>
                <a:cubicBezTo>
                  <a:pt x="777269" y="865179"/>
                  <a:pt x="786397" y="865179"/>
                  <a:pt x="794004" y="857573"/>
                </a:cubicBezTo>
                <a:cubicBezTo>
                  <a:pt x="800090" y="851487"/>
                  <a:pt x="800090" y="840838"/>
                  <a:pt x="792483" y="834752"/>
                </a:cubicBezTo>
                <a:cubicBezTo>
                  <a:pt x="789440" y="831709"/>
                  <a:pt x="785256" y="830188"/>
                  <a:pt x="781073" y="830188"/>
                </a:cubicBezTo>
                <a:close/>
                <a:moveTo>
                  <a:pt x="865181" y="822069"/>
                </a:moveTo>
                <a:cubicBezTo>
                  <a:pt x="860418" y="828085"/>
                  <a:pt x="860418" y="835604"/>
                  <a:pt x="865181" y="841620"/>
                </a:cubicBezTo>
                <a:cubicBezTo>
                  <a:pt x="871531" y="846132"/>
                  <a:pt x="879469" y="846132"/>
                  <a:pt x="885819" y="840116"/>
                </a:cubicBezTo>
                <a:cubicBezTo>
                  <a:pt x="890581" y="835604"/>
                  <a:pt x="890581" y="826581"/>
                  <a:pt x="884231" y="822069"/>
                </a:cubicBezTo>
                <a:cubicBezTo>
                  <a:pt x="879469" y="817557"/>
                  <a:pt x="869944" y="817557"/>
                  <a:pt x="865181" y="822069"/>
                </a:cubicBezTo>
                <a:close/>
                <a:moveTo>
                  <a:pt x="1148547" y="819142"/>
                </a:moveTo>
                <a:cubicBezTo>
                  <a:pt x="1139454" y="819142"/>
                  <a:pt x="1131877" y="826719"/>
                  <a:pt x="1131877" y="835811"/>
                </a:cubicBezTo>
                <a:cubicBezTo>
                  <a:pt x="1131877" y="844903"/>
                  <a:pt x="1139454" y="852480"/>
                  <a:pt x="1148547" y="852480"/>
                </a:cubicBezTo>
                <a:cubicBezTo>
                  <a:pt x="1157638" y="850964"/>
                  <a:pt x="1165215" y="843388"/>
                  <a:pt x="1165215" y="834295"/>
                </a:cubicBezTo>
                <a:cubicBezTo>
                  <a:pt x="1165215" y="825203"/>
                  <a:pt x="1157638" y="819142"/>
                  <a:pt x="1148547" y="819142"/>
                </a:cubicBezTo>
                <a:close/>
                <a:moveTo>
                  <a:pt x="1041142" y="817556"/>
                </a:moveTo>
                <a:cubicBezTo>
                  <a:pt x="1036630" y="823906"/>
                  <a:pt x="1036630" y="831844"/>
                  <a:pt x="1041142" y="838194"/>
                </a:cubicBezTo>
                <a:cubicBezTo>
                  <a:pt x="1047157" y="842957"/>
                  <a:pt x="1054677" y="842957"/>
                  <a:pt x="1060694" y="836606"/>
                </a:cubicBezTo>
                <a:cubicBezTo>
                  <a:pt x="1065205" y="831844"/>
                  <a:pt x="1065205" y="822319"/>
                  <a:pt x="1059189" y="817556"/>
                </a:cubicBezTo>
                <a:cubicBezTo>
                  <a:pt x="1054677" y="812794"/>
                  <a:pt x="1045653" y="812794"/>
                  <a:pt x="1041142" y="817556"/>
                </a:cubicBezTo>
                <a:close/>
                <a:moveTo>
                  <a:pt x="623501" y="815844"/>
                </a:moveTo>
                <a:cubicBezTo>
                  <a:pt x="596069" y="820479"/>
                  <a:pt x="576257" y="848292"/>
                  <a:pt x="580829" y="877650"/>
                </a:cubicBezTo>
                <a:cubicBezTo>
                  <a:pt x="586925" y="907009"/>
                  <a:pt x="614357" y="927096"/>
                  <a:pt x="641789" y="920915"/>
                </a:cubicBezTo>
                <a:cubicBezTo>
                  <a:pt x="670745" y="916280"/>
                  <a:pt x="690557" y="888467"/>
                  <a:pt x="685985" y="859108"/>
                </a:cubicBezTo>
                <a:cubicBezTo>
                  <a:pt x="679889" y="829750"/>
                  <a:pt x="652457" y="811208"/>
                  <a:pt x="623501" y="815844"/>
                </a:cubicBezTo>
                <a:close/>
                <a:moveTo>
                  <a:pt x="1287764" y="815786"/>
                </a:moveTo>
                <a:cubicBezTo>
                  <a:pt x="1269447" y="820361"/>
                  <a:pt x="1255709" y="838664"/>
                  <a:pt x="1260288" y="858493"/>
                </a:cubicBezTo>
                <a:cubicBezTo>
                  <a:pt x="1264868" y="876796"/>
                  <a:pt x="1283185" y="888998"/>
                  <a:pt x="1303030" y="885947"/>
                </a:cubicBezTo>
                <a:cubicBezTo>
                  <a:pt x="1321347" y="881371"/>
                  <a:pt x="1335085" y="861543"/>
                  <a:pt x="1330505" y="843240"/>
                </a:cubicBezTo>
                <a:cubicBezTo>
                  <a:pt x="1325926" y="823412"/>
                  <a:pt x="1307609" y="811210"/>
                  <a:pt x="1287764" y="815786"/>
                </a:cubicBezTo>
                <a:close/>
                <a:moveTo>
                  <a:pt x="828270" y="815079"/>
                </a:moveTo>
                <a:cubicBezTo>
                  <a:pt x="823904" y="815841"/>
                  <a:pt x="819936" y="818127"/>
                  <a:pt x="817554" y="821937"/>
                </a:cubicBezTo>
                <a:cubicBezTo>
                  <a:pt x="811204" y="831081"/>
                  <a:pt x="814379" y="840225"/>
                  <a:pt x="822317" y="846321"/>
                </a:cubicBezTo>
                <a:cubicBezTo>
                  <a:pt x="830254" y="850893"/>
                  <a:pt x="841367" y="847845"/>
                  <a:pt x="846130" y="840225"/>
                </a:cubicBezTo>
                <a:cubicBezTo>
                  <a:pt x="850892" y="832605"/>
                  <a:pt x="849305" y="821937"/>
                  <a:pt x="841367" y="817365"/>
                </a:cubicBezTo>
                <a:cubicBezTo>
                  <a:pt x="837398" y="815079"/>
                  <a:pt x="832636" y="814317"/>
                  <a:pt x="828270" y="815079"/>
                </a:cubicBezTo>
                <a:close/>
                <a:moveTo>
                  <a:pt x="1091572" y="806177"/>
                </a:moveTo>
                <a:cubicBezTo>
                  <a:pt x="1077683" y="809176"/>
                  <a:pt x="1069965" y="822669"/>
                  <a:pt x="1073052" y="836163"/>
                </a:cubicBezTo>
                <a:cubicBezTo>
                  <a:pt x="1076139" y="848158"/>
                  <a:pt x="1090029" y="855654"/>
                  <a:pt x="1103919" y="852656"/>
                </a:cubicBezTo>
                <a:cubicBezTo>
                  <a:pt x="1117810" y="849657"/>
                  <a:pt x="1125527" y="836163"/>
                  <a:pt x="1122440" y="822669"/>
                </a:cubicBezTo>
                <a:cubicBezTo>
                  <a:pt x="1117810" y="809176"/>
                  <a:pt x="1105463" y="801679"/>
                  <a:pt x="1091572" y="806177"/>
                </a:cubicBezTo>
                <a:close/>
                <a:moveTo>
                  <a:pt x="732378" y="798208"/>
                </a:moveTo>
                <a:cubicBezTo>
                  <a:pt x="718438" y="792161"/>
                  <a:pt x="701402" y="799720"/>
                  <a:pt x="696756" y="813327"/>
                </a:cubicBezTo>
                <a:cubicBezTo>
                  <a:pt x="690560" y="828446"/>
                  <a:pt x="696756" y="843565"/>
                  <a:pt x="712243" y="849613"/>
                </a:cubicBezTo>
                <a:cubicBezTo>
                  <a:pt x="726182" y="855660"/>
                  <a:pt x="743219" y="848101"/>
                  <a:pt x="747865" y="834494"/>
                </a:cubicBezTo>
                <a:cubicBezTo>
                  <a:pt x="754060" y="819375"/>
                  <a:pt x="746317" y="804256"/>
                  <a:pt x="732378" y="798208"/>
                </a:cubicBezTo>
                <a:close/>
                <a:moveTo>
                  <a:pt x="1220068" y="791285"/>
                </a:moveTo>
                <a:cubicBezTo>
                  <a:pt x="1213453" y="788831"/>
                  <a:pt x="1205894" y="788831"/>
                  <a:pt x="1199090" y="791851"/>
                </a:cubicBezTo>
                <a:cubicBezTo>
                  <a:pt x="1185483" y="797891"/>
                  <a:pt x="1177923" y="812992"/>
                  <a:pt x="1183971" y="826583"/>
                </a:cubicBezTo>
                <a:cubicBezTo>
                  <a:pt x="1190019" y="841683"/>
                  <a:pt x="1206650" y="847724"/>
                  <a:pt x="1220257" y="841683"/>
                </a:cubicBezTo>
                <a:cubicBezTo>
                  <a:pt x="1235376" y="835643"/>
                  <a:pt x="1241423" y="819032"/>
                  <a:pt x="1235376" y="805442"/>
                </a:cubicBezTo>
                <a:cubicBezTo>
                  <a:pt x="1232353" y="798646"/>
                  <a:pt x="1226682" y="793739"/>
                  <a:pt x="1220068" y="791285"/>
                </a:cubicBezTo>
                <a:close/>
                <a:moveTo>
                  <a:pt x="961271" y="779457"/>
                </a:moveTo>
                <a:cubicBezTo>
                  <a:pt x="953800" y="780956"/>
                  <a:pt x="949318" y="785454"/>
                  <a:pt x="949318" y="792950"/>
                </a:cubicBezTo>
                <a:cubicBezTo>
                  <a:pt x="949318" y="800447"/>
                  <a:pt x="955294" y="806444"/>
                  <a:pt x="961271" y="806444"/>
                </a:cubicBezTo>
                <a:cubicBezTo>
                  <a:pt x="968741" y="804945"/>
                  <a:pt x="974718" y="800447"/>
                  <a:pt x="974718" y="792950"/>
                </a:cubicBezTo>
                <a:cubicBezTo>
                  <a:pt x="974718" y="785454"/>
                  <a:pt x="968741" y="779457"/>
                  <a:pt x="961271" y="779457"/>
                </a:cubicBezTo>
                <a:close/>
                <a:moveTo>
                  <a:pt x="876168" y="769234"/>
                </a:moveTo>
                <a:cubicBezTo>
                  <a:pt x="871977" y="768663"/>
                  <a:pt x="867786" y="769806"/>
                  <a:pt x="864738" y="772854"/>
                </a:cubicBezTo>
                <a:cubicBezTo>
                  <a:pt x="857118" y="777426"/>
                  <a:pt x="854069" y="788094"/>
                  <a:pt x="860165" y="795714"/>
                </a:cubicBezTo>
                <a:cubicBezTo>
                  <a:pt x="864738" y="803334"/>
                  <a:pt x="875405" y="804858"/>
                  <a:pt x="883025" y="800286"/>
                </a:cubicBezTo>
                <a:cubicBezTo>
                  <a:pt x="890645" y="794190"/>
                  <a:pt x="892170" y="783522"/>
                  <a:pt x="887597" y="775902"/>
                </a:cubicBezTo>
                <a:cubicBezTo>
                  <a:pt x="884550" y="772092"/>
                  <a:pt x="880358" y="769806"/>
                  <a:pt x="876168" y="769234"/>
                </a:cubicBezTo>
                <a:close/>
                <a:moveTo>
                  <a:pt x="1048276" y="764573"/>
                </a:moveTo>
                <a:cubicBezTo>
                  <a:pt x="1044078" y="765565"/>
                  <a:pt x="1040262" y="768343"/>
                  <a:pt x="1037972" y="773105"/>
                </a:cubicBezTo>
                <a:cubicBezTo>
                  <a:pt x="1031866" y="781043"/>
                  <a:pt x="1034919" y="792156"/>
                  <a:pt x="1042552" y="796918"/>
                </a:cubicBezTo>
                <a:cubicBezTo>
                  <a:pt x="1050184" y="801681"/>
                  <a:pt x="1060869" y="800093"/>
                  <a:pt x="1065449" y="790568"/>
                </a:cubicBezTo>
                <a:cubicBezTo>
                  <a:pt x="1071554" y="782630"/>
                  <a:pt x="1068503" y="771518"/>
                  <a:pt x="1060869" y="766755"/>
                </a:cubicBezTo>
                <a:cubicBezTo>
                  <a:pt x="1057053" y="764374"/>
                  <a:pt x="1052475" y="763580"/>
                  <a:pt x="1048276" y="764573"/>
                </a:cubicBezTo>
                <a:close/>
                <a:moveTo>
                  <a:pt x="928018" y="744465"/>
                </a:moveTo>
                <a:cubicBezTo>
                  <a:pt x="918890" y="747507"/>
                  <a:pt x="912804" y="756636"/>
                  <a:pt x="914326" y="765764"/>
                </a:cubicBezTo>
                <a:cubicBezTo>
                  <a:pt x="917369" y="773371"/>
                  <a:pt x="926497" y="779456"/>
                  <a:pt x="935625" y="777935"/>
                </a:cubicBezTo>
                <a:cubicBezTo>
                  <a:pt x="943232" y="774892"/>
                  <a:pt x="949317" y="767285"/>
                  <a:pt x="947796" y="758157"/>
                </a:cubicBezTo>
                <a:cubicBezTo>
                  <a:pt x="946275" y="749029"/>
                  <a:pt x="937146" y="742943"/>
                  <a:pt x="928018" y="744465"/>
                </a:cubicBezTo>
                <a:close/>
                <a:moveTo>
                  <a:pt x="996944" y="742879"/>
                </a:moveTo>
                <a:cubicBezTo>
                  <a:pt x="987418" y="741357"/>
                  <a:pt x="977894" y="747443"/>
                  <a:pt x="976306" y="756571"/>
                </a:cubicBezTo>
                <a:cubicBezTo>
                  <a:pt x="974719" y="765699"/>
                  <a:pt x="981069" y="774828"/>
                  <a:pt x="990593" y="776349"/>
                </a:cubicBezTo>
                <a:cubicBezTo>
                  <a:pt x="1000119" y="777870"/>
                  <a:pt x="1009644" y="771785"/>
                  <a:pt x="1011231" y="762656"/>
                </a:cubicBezTo>
                <a:cubicBezTo>
                  <a:pt x="1012819" y="753528"/>
                  <a:pt x="1006469" y="744400"/>
                  <a:pt x="996944" y="742879"/>
                </a:cubicBezTo>
                <a:close/>
                <a:moveTo>
                  <a:pt x="1134589" y="727916"/>
                </a:moveTo>
                <a:cubicBezTo>
                  <a:pt x="1129799" y="726192"/>
                  <a:pt x="1124051" y="726192"/>
                  <a:pt x="1118686" y="728491"/>
                </a:cubicBezTo>
                <a:cubicBezTo>
                  <a:pt x="1109490" y="733089"/>
                  <a:pt x="1104891" y="743819"/>
                  <a:pt x="1109490" y="754548"/>
                </a:cubicBezTo>
                <a:cubicBezTo>
                  <a:pt x="1114088" y="763744"/>
                  <a:pt x="1124817" y="768343"/>
                  <a:pt x="1135546" y="763744"/>
                </a:cubicBezTo>
                <a:cubicBezTo>
                  <a:pt x="1144743" y="759146"/>
                  <a:pt x="1149341" y="748417"/>
                  <a:pt x="1144743" y="737687"/>
                </a:cubicBezTo>
                <a:cubicBezTo>
                  <a:pt x="1143210" y="733089"/>
                  <a:pt x="1139380" y="729641"/>
                  <a:pt x="1134589" y="727916"/>
                </a:cubicBezTo>
                <a:close/>
                <a:moveTo>
                  <a:pt x="790675" y="725442"/>
                </a:moveTo>
                <a:cubicBezTo>
                  <a:pt x="774024" y="725442"/>
                  <a:pt x="760401" y="740947"/>
                  <a:pt x="761915" y="759555"/>
                </a:cubicBezTo>
                <a:cubicBezTo>
                  <a:pt x="763429" y="776611"/>
                  <a:pt x="778565" y="790566"/>
                  <a:pt x="795216" y="789016"/>
                </a:cubicBezTo>
                <a:cubicBezTo>
                  <a:pt x="813380" y="789016"/>
                  <a:pt x="825489" y="773510"/>
                  <a:pt x="825489" y="754903"/>
                </a:cubicBezTo>
                <a:cubicBezTo>
                  <a:pt x="823975" y="737846"/>
                  <a:pt x="808839" y="723891"/>
                  <a:pt x="790675" y="725442"/>
                </a:cubicBezTo>
                <a:close/>
                <a:moveTo>
                  <a:pt x="2139294" y="724868"/>
                </a:moveTo>
                <a:cubicBezTo>
                  <a:pt x="2149849" y="725068"/>
                  <a:pt x="2158640" y="728004"/>
                  <a:pt x="2165666" y="733678"/>
                </a:cubicBezTo>
                <a:cubicBezTo>
                  <a:pt x="2172691" y="739352"/>
                  <a:pt x="2177973" y="746563"/>
                  <a:pt x="2181513" y="755314"/>
                </a:cubicBezTo>
                <a:cubicBezTo>
                  <a:pt x="2185056" y="764064"/>
                  <a:pt x="2186880" y="773154"/>
                  <a:pt x="2186987" y="782584"/>
                </a:cubicBezTo>
                <a:lnTo>
                  <a:pt x="2088597" y="782584"/>
                </a:lnTo>
                <a:cubicBezTo>
                  <a:pt x="2089254" y="772944"/>
                  <a:pt x="2091535" y="763755"/>
                  <a:pt x="2095441" y="755017"/>
                </a:cubicBezTo>
                <a:cubicBezTo>
                  <a:pt x="2099346" y="746279"/>
                  <a:pt x="2104939" y="739117"/>
                  <a:pt x="2112215" y="733530"/>
                </a:cubicBezTo>
                <a:cubicBezTo>
                  <a:pt x="2119495" y="727943"/>
                  <a:pt x="2128519" y="725055"/>
                  <a:pt x="2139294" y="724868"/>
                </a:cubicBezTo>
                <a:close/>
                <a:moveTo>
                  <a:pt x="885020" y="717541"/>
                </a:moveTo>
                <a:cubicBezTo>
                  <a:pt x="875928" y="717541"/>
                  <a:pt x="868351" y="727066"/>
                  <a:pt x="868351" y="736591"/>
                </a:cubicBezTo>
                <a:cubicBezTo>
                  <a:pt x="868351" y="746116"/>
                  <a:pt x="875928" y="752466"/>
                  <a:pt x="885020" y="752466"/>
                </a:cubicBezTo>
                <a:cubicBezTo>
                  <a:pt x="894113" y="752466"/>
                  <a:pt x="901689" y="744529"/>
                  <a:pt x="901689" y="735004"/>
                </a:cubicBezTo>
                <a:cubicBezTo>
                  <a:pt x="901689" y="725479"/>
                  <a:pt x="894113" y="717541"/>
                  <a:pt x="885020" y="717541"/>
                </a:cubicBezTo>
                <a:close/>
                <a:moveTo>
                  <a:pt x="1036627" y="714491"/>
                </a:moveTo>
                <a:cubicBezTo>
                  <a:pt x="1032436" y="714682"/>
                  <a:pt x="1028245" y="716583"/>
                  <a:pt x="1025197" y="720387"/>
                </a:cubicBezTo>
                <a:cubicBezTo>
                  <a:pt x="1017577" y="726472"/>
                  <a:pt x="1019101" y="737122"/>
                  <a:pt x="1025197" y="743207"/>
                </a:cubicBezTo>
                <a:cubicBezTo>
                  <a:pt x="1031293" y="749293"/>
                  <a:pt x="1041961" y="749293"/>
                  <a:pt x="1049582" y="743207"/>
                </a:cubicBezTo>
                <a:cubicBezTo>
                  <a:pt x="1055678" y="735601"/>
                  <a:pt x="1054153" y="724951"/>
                  <a:pt x="1048057" y="718865"/>
                </a:cubicBezTo>
                <a:cubicBezTo>
                  <a:pt x="1045009" y="715823"/>
                  <a:pt x="1040818" y="714301"/>
                  <a:pt x="1036627" y="714491"/>
                </a:cubicBezTo>
                <a:close/>
                <a:moveTo>
                  <a:pt x="2544910" y="710240"/>
                </a:moveTo>
                <a:lnTo>
                  <a:pt x="2544910" y="729868"/>
                </a:lnTo>
                <a:lnTo>
                  <a:pt x="2572579" y="729868"/>
                </a:lnTo>
                <a:lnTo>
                  <a:pt x="2572579" y="863259"/>
                </a:lnTo>
                <a:lnTo>
                  <a:pt x="2544576" y="863259"/>
                </a:lnTo>
                <a:lnTo>
                  <a:pt x="2544576" y="884220"/>
                </a:lnTo>
                <a:lnTo>
                  <a:pt x="2626544" y="884220"/>
                </a:lnTo>
                <a:lnTo>
                  <a:pt x="2626544" y="863259"/>
                </a:lnTo>
                <a:lnTo>
                  <a:pt x="2599540" y="863259"/>
                </a:lnTo>
                <a:lnTo>
                  <a:pt x="2599540" y="710240"/>
                </a:lnTo>
                <a:close/>
                <a:moveTo>
                  <a:pt x="1858952" y="708015"/>
                </a:moveTo>
                <a:lnTo>
                  <a:pt x="1858952" y="727065"/>
                </a:lnTo>
                <a:lnTo>
                  <a:pt x="1876413" y="727065"/>
                </a:lnTo>
                <a:lnTo>
                  <a:pt x="1930389" y="884228"/>
                </a:lnTo>
                <a:lnTo>
                  <a:pt x="1965315" y="884228"/>
                </a:lnTo>
                <a:lnTo>
                  <a:pt x="2019290" y="727065"/>
                </a:lnTo>
                <a:lnTo>
                  <a:pt x="2038340" y="727065"/>
                </a:lnTo>
                <a:lnTo>
                  <a:pt x="2038340" y="708015"/>
                </a:lnTo>
                <a:lnTo>
                  <a:pt x="1963727" y="708015"/>
                </a:lnTo>
                <a:lnTo>
                  <a:pt x="1963727" y="727065"/>
                </a:lnTo>
                <a:lnTo>
                  <a:pt x="1992303" y="727065"/>
                </a:lnTo>
                <a:lnTo>
                  <a:pt x="1951028" y="860415"/>
                </a:lnTo>
                <a:lnTo>
                  <a:pt x="1947851" y="860415"/>
                </a:lnTo>
                <a:lnTo>
                  <a:pt x="1906577" y="727065"/>
                </a:lnTo>
                <a:lnTo>
                  <a:pt x="1935152" y="727065"/>
                </a:lnTo>
                <a:lnTo>
                  <a:pt x="1935152" y="708015"/>
                </a:lnTo>
                <a:close/>
                <a:moveTo>
                  <a:pt x="2762239" y="708014"/>
                </a:moveTo>
                <a:cubicBezTo>
                  <a:pt x="2762239" y="708014"/>
                  <a:pt x="2762239" y="708014"/>
                  <a:pt x="2762239" y="727848"/>
                </a:cubicBezTo>
                <a:cubicBezTo>
                  <a:pt x="2762239" y="727848"/>
                  <a:pt x="2762239" y="727848"/>
                  <a:pt x="2778956" y="727848"/>
                </a:cubicBezTo>
                <a:cubicBezTo>
                  <a:pt x="2778956" y="727848"/>
                  <a:pt x="2778956" y="727848"/>
                  <a:pt x="2838222" y="884989"/>
                </a:cubicBezTo>
                <a:cubicBezTo>
                  <a:pt x="2833663" y="898720"/>
                  <a:pt x="2827584" y="920079"/>
                  <a:pt x="2809349" y="920079"/>
                </a:cubicBezTo>
                <a:cubicBezTo>
                  <a:pt x="2801751" y="920079"/>
                  <a:pt x="2795672" y="920079"/>
                  <a:pt x="2789593" y="918554"/>
                </a:cubicBezTo>
                <a:cubicBezTo>
                  <a:pt x="2789593" y="918554"/>
                  <a:pt x="2789593" y="918554"/>
                  <a:pt x="2789593" y="939913"/>
                </a:cubicBezTo>
                <a:cubicBezTo>
                  <a:pt x="2795672" y="941439"/>
                  <a:pt x="2803270" y="942964"/>
                  <a:pt x="2810868" y="942964"/>
                </a:cubicBezTo>
                <a:cubicBezTo>
                  <a:pt x="2819987" y="942964"/>
                  <a:pt x="2830624" y="939913"/>
                  <a:pt x="2836704" y="935336"/>
                </a:cubicBezTo>
                <a:cubicBezTo>
                  <a:pt x="2845821" y="929233"/>
                  <a:pt x="2851899" y="921605"/>
                  <a:pt x="2854939" y="912451"/>
                </a:cubicBezTo>
                <a:cubicBezTo>
                  <a:pt x="2859497" y="903297"/>
                  <a:pt x="2862537" y="894143"/>
                  <a:pt x="2865576" y="884989"/>
                </a:cubicBezTo>
                <a:cubicBezTo>
                  <a:pt x="2865576" y="884989"/>
                  <a:pt x="2865576" y="884989"/>
                  <a:pt x="2923323" y="727848"/>
                </a:cubicBezTo>
                <a:cubicBezTo>
                  <a:pt x="2923323" y="727848"/>
                  <a:pt x="2923323" y="727848"/>
                  <a:pt x="2940039" y="727848"/>
                </a:cubicBezTo>
                <a:cubicBezTo>
                  <a:pt x="2940039" y="727848"/>
                  <a:pt x="2940039" y="727848"/>
                  <a:pt x="2940039" y="708014"/>
                </a:cubicBezTo>
                <a:cubicBezTo>
                  <a:pt x="2940039" y="708014"/>
                  <a:pt x="2940039" y="708014"/>
                  <a:pt x="2867096" y="708014"/>
                </a:cubicBezTo>
                <a:cubicBezTo>
                  <a:pt x="2867096" y="708014"/>
                  <a:pt x="2867096" y="708014"/>
                  <a:pt x="2867096" y="727848"/>
                </a:cubicBezTo>
                <a:cubicBezTo>
                  <a:pt x="2867096" y="727848"/>
                  <a:pt x="2867096" y="727848"/>
                  <a:pt x="2894450" y="727848"/>
                </a:cubicBezTo>
                <a:cubicBezTo>
                  <a:pt x="2894450" y="727848"/>
                  <a:pt x="2894450" y="727848"/>
                  <a:pt x="2853419" y="851425"/>
                </a:cubicBezTo>
                <a:cubicBezTo>
                  <a:pt x="2853419" y="851425"/>
                  <a:pt x="2853419" y="851425"/>
                  <a:pt x="2810868" y="727848"/>
                </a:cubicBezTo>
                <a:cubicBezTo>
                  <a:pt x="2810868" y="727848"/>
                  <a:pt x="2810868" y="727848"/>
                  <a:pt x="2838222" y="727848"/>
                </a:cubicBezTo>
                <a:cubicBezTo>
                  <a:pt x="2838222" y="727848"/>
                  <a:pt x="2838222" y="727848"/>
                  <a:pt x="2838222" y="708014"/>
                </a:cubicBezTo>
                <a:cubicBezTo>
                  <a:pt x="2838222" y="708014"/>
                  <a:pt x="2838222" y="708014"/>
                  <a:pt x="2762239" y="708014"/>
                </a:cubicBezTo>
                <a:close/>
                <a:moveTo>
                  <a:pt x="1766822" y="707860"/>
                </a:moveTo>
                <a:lnTo>
                  <a:pt x="1766822" y="727488"/>
                </a:lnTo>
                <a:lnTo>
                  <a:pt x="1794493" y="727488"/>
                </a:lnTo>
                <a:lnTo>
                  <a:pt x="1794493" y="860879"/>
                </a:lnTo>
                <a:lnTo>
                  <a:pt x="1766490" y="860879"/>
                </a:lnTo>
                <a:lnTo>
                  <a:pt x="1766490" y="881840"/>
                </a:lnTo>
                <a:lnTo>
                  <a:pt x="1848458" y="881840"/>
                </a:lnTo>
                <a:lnTo>
                  <a:pt x="1848458" y="860879"/>
                </a:lnTo>
                <a:lnTo>
                  <a:pt x="1821454" y="860879"/>
                </a:lnTo>
                <a:lnTo>
                  <a:pt x="1821454" y="707860"/>
                </a:lnTo>
                <a:close/>
                <a:moveTo>
                  <a:pt x="2139961" y="704907"/>
                </a:moveTo>
                <a:cubicBezTo>
                  <a:pt x="2126007" y="704982"/>
                  <a:pt x="2112974" y="708242"/>
                  <a:pt x="2100862" y="714686"/>
                </a:cubicBezTo>
                <a:cubicBezTo>
                  <a:pt x="2088746" y="721130"/>
                  <a:pt x="2079222" y="730307"/>
                  <a:pt x="2072285" y="742216"/>
                </a:cubicBezTo>
                <a:cubicBezTo>
                  <a:pt x="2067666" y="750481"/>
                  <a:pt x="2064337" y="759306"/>
                  <a:pt x="2062298" y="768692"/>
                </a:cubicBezTo>
                <a:cubicBezTo>
                  <a:pt x="2060259" y="778078"/>
                  <a:pt x="2059260" y="787477"/>
                  <a:pt x="2059302" y="796889"/>
                </a:cubicBezTo>
                <a:cubicBezTo>
                  <a:pt x="2059092" y="823386"/>
                  <a:pt x="2065338" y="844833"/>
                  <a:pt x="2078040" y="861231"/>
                </a:cubicBezTo>
                <a:cubicBezTo>
                  <a:pt x="2090741" y="877629"/>
                  <a:pt x="2111160" y="886070"/>
                  <a:pt x="2139294" y="886555"/>
                </a:cubicBezTo>
                <a:cubicBezTo>
                  <a:pt x="2158469" y="886550"/>
                  <a:pt x="2174722" y="881819"/>
                  <a:pt x="2188051" y="872362"/>
                </a:cubicBezTo>
                <a:cubicBezTo>
                  <a:pt x="2201379" y="862904"/>
                  <a:pt x="2209790" y="848750"/>
                  <a:pt x="2213283" y="829899"/>
                </a:cubicBezTo>
                <a:lnTo>
                  <a:pt x="2187653" y="829899"/>
                </a:lnTo>
                <a:cubicBezTo>
                  <a:pt x="2186124" y="840463"/>
                  <a:pt x="2181177" y="849108"/>
                  <a:pt x="2172811" y="855836"/>
                </a:cubicBezTo>
                <a:cubicBezTo>
                  <a:pt x="2164445" y="862563"/>
                  <a:pt x="2154830" y="866038"/>
                  <a:pt x="2143961" y="866261"/>
                </a:cubicBezTo>
                <a:cubicBezTo>
                  <a:pt x="2134944" y="866428"/>
                  <a:pt x="2127218" y="865343"/>
                  <a:pt x="2120782" y="863008"/>
                </a:cubicBezTo>
                <a:cubicBezTo>
                  <a:pt x="2114349" y="860673"/>
                  <a:pt x="2108291" y="856086"/>
                  <a:pt x="2102607" y="849247"/>
                </a:cubicBezTo>
                <a:cubicBezTo>
                  <a:pt x="2097067" y="842527"/>
                  <a:pt x="2093218" y="835202"/>
                  <a:pt x="2091058" y="827272"/>
                </a:cubicBezTo>
                <a:cubicBezTo>
                  <a:pt x="2088897" y="819342"/>
                  <a:pt x="2087633" y="811100"/>
                  <a:pt x="2087266" y="802544"/>
                </a:cubicBezTo>
                <a:lnTo>
                  <a:pt x="2215613" y="802544"/>
                </a:lnTo>
                <a:lnTo>
                  <a:pt x="2215613" y="797887"/>
                </a:lnTo>
                <a:cubicBezTo>
                  <a:pt x="2215628" y="791559"/>
                  <a:pt x="2215351" y="785746"/>
                  <a:pt x="2214783" y="780449"/>
                </a:cubicBezTo>
                <a:cubicBezTo>
                  <a:pt x="2214214" y="775152"/>
                  <a:pt x="2213270" y="769413"/>
                  <a:pt x="2211953" y="763234"/>
                </a:cubicBezTo>
                <a:cubicBezTo>
                  <a:pt x="2210323" y="754852"/>
                  <a:pt x="2207506" y="747012"/>
                  <a:pt x="2203505" y="739716"/>
                </a:cubicBezTo>
                <a:cubicBezTo>
                  <a:pt x="2199504" y="732419"/>
                  <a:pt x="2194108" y="725918"/>
                  <a:pt x="2187318" y="720211"/>
                </a:cubicBezTo>
                <a:cubicBezTo>
                  <a:pt x="2180947" y="715207"/>
                  <a:pt x="2173512" y="711408"/>
                  <a:pt x="2165014" y="708816"/>
                </a:cubicBezTo>
                <a:cubicBezTo>
                  <a:pt x="2156517" y="706224"/>
                  <a:pt x="2148167" y="704921"/>
                  <a:pt x="2139961" y="704907"/>
                </a:cubicBezTo>
                <a:close/>
                <a:moveTo>
                  <a:pt x="2349805" y="704839"/>
                </a:moveTo>
                <a:cubicBezTo>
                  <a:pt x="2317782" y="704839"/>
                  <a:pt x="2308634" y="712506"/>
                  <a:pt x="2296435" y="743170"/>
                </a:cubicBezTo>
                <a:cubicBezTo>
                  <a:pt x="2296435" y="743170"/>
                  <a:pt x="2296435" y="743170"/>
                  <a:pt x="2296435" y="707906"/>
                </a:cubicBezTo>
                <a:cubicBezTo>
                  <a:pt x="2296435" y="707906"/>
                  <a:pt x="2296435" y="707906"/>
                  <a:pt x="2241541" y="707906"/>
                </a:cubicBezTo>
                <a:cubicBezTo>
                  <a:pt x="2241541" y="707906"/>
                  <a:pt x="2241541" y="707906"/>
                  <a:pt x="2241541" y="727838"/>
                </a:cubicBezTo>
                <a:cubicBezTo>
                  <a:pt x="2241541" y="727838"/>
                  <a:pt x="2241541" y="727838"/>
                  <a:pt x="2268988" y="727838"/>
                </a:cubicBezTo>
                <a:cubicBezTo>
                  <a:pt x="2268988" y="727838"/>
                  <a:pt x="2268988" y="727838"/>
                  <a:pt x="2268988" y="862762"/>
                </a:cubicBezTo>
                <a:cubicBezTo>
                  <a:pt x="2268988" y="862762"/>
                  <a:pt x="2268988" y="862762"/>
                  <a:pt x="2241541" y="862762"/>
                </a:cubicBezTo>
                <a:cubicBezTo>
                  <a:pt x="2241541" y="862762"/>
                  <a:pt x="2241541" y="862762"/>
                  <a:pt x="2241541" y="884227"/>
                </a:cubicBezTo>
                <a:cubicBezTo>
                  <a:pt x="2241541" y="884227"/>
                  <a:pt x="2241541" y="884227"/>
                  <a:pt x="2329982" y="884227"/>
                </a:cubicBezTo>
                <a:cubicBezTo>
                  <a:pt x="2329982" y="884227"/>
                  <a:pt x="2329982" y="884227"/>
                  <a:pt x="2329982" y="862762"/>
                </a:cubicBezTo>
                <a:cubicBezTo>
                  <a:pt x="2329982" y="862762"/>
                  <a:pt x="2329982" y="862762"/>
                  <a:pt x="2296435" y="862762"/>
                </a:cubicBezTo>
                <a:cubicBezTo>
                  <a:pt x="2296435" y="862762"/>
                  <a:pt x="2296435" y="862762"/>
                  <a:pt x="2296435" y="795300"/>
                </a:cubicBezTo>
                <a:cubicBezTo>
                  <a:pt x="2296435" y="761569"/>
                  <a:pt x="2305584" y="729371"/>
                  <a:pt x="2346754" y="729371"/>
                </a:cubicBezTo>
                <a:cubicBezTo>
                  <a:pt x="2349805" y="729371"/>
                  <a:pt x="2354379" y="729371"/>
                  <a:pt x="2357429" y="729371"/>
                </a:cubicBezTo>
                <a:cubicBezTo>
                  <a:pt x="2357429" y="729371"/>
                  <a:pt x="2357429" y="729371"/>
                  <a:pt x="2357429" y="704839"/>
                </a:cubicBezTo>
                <a:cubicBezTo>
                  <a:pt x="2357429" y="704839"/>
                  <a:pt x="2357429" y="704839"/>
                  <a:pt x="2349805" y="704839"/>
                </a:cubicBezTo>
                <a:close/>
                <a:moveTo>
                  <a:pt x="673175" y="702447"/>
                </a:moveTo>
                <a:cubicBezTo>
                  <a:pt x="664201" y="704166"/>
                  <a:pt x="655799" y="709130"/>
                  <a:pt x="650452" y="716769"/>
                </a:cubicBezTo>
                <a:cubicBezTo>
                  <a:pt x="639759" y="733572"/>
                  <a:pt x="644342" y="756486"/>
                  <a:pt x="661146" y="767179"/>
                </a:cubicBezTo>
                <a:cubicBezTo>
                  <a:pt x="677949" y="777873"/>
                  <a:pt x="699336" y="773290"/>
                  <a:pt x="710029" y="756486"/>
                </a:cubicBezTo>
                <a:cubicBezTo>
                  <a:pt x="720722" y="739682"/>
                  <a:pt x="716139" y="718296"/>
                  <a:pt x="699336" y="707603"/>
                </a:cubicBezTo>
                <a:cubicBezTo>
                  <a:pt x="691698" y="702256"/>
                  <a:pt x="682150" y="700729"/>
                  <a:pt x="673175" y="702447"/>
                </a:cubicBezTo>
                <a:close/>
                <a:moveTo>
                  <a:pt x="2444029" y="701664"/>
                </a:moveTo>
                <a:cubicBezTo>
                  <a:pt x="2422570" y="701664"/>
                  <a:pt x="2404176" y="707805"/>
                  <a:pt x="2390381" y="724690"/>
                </a:cubicBezTo>
                <a:cubicBezTo>
                  <a:pt x="2382718" y="732365"/>
                  <a:pt x="2381186" y="746180"/>
                  <a:pt x="2381186" y="755390"/>
                </a:cubicBezTo>
                <a:cubicBezTo>
                  <a:pt x="2381186" y="792231"/>
                  <a:pt x="2407243" y="799906"/>
                  <a:pt x="2437897" y="804511"/>
                </a:cubicBezTo>
                <a:cubicBezTo>
                  <a:pt x="2457824" y="807581"/>
                  <a:pt x="2483880" y="809116"/>
                  <a:pt x="2483880" y="833677"/>
                </a:cubicBezTo>
                <a:cubicBezTo>
                  <a:pt x="2483880" y="855167"/>
                  <a:pt x="2467020" y="865912"/>
                  <a:pt x="2448627" y="865912"/>
                </a:cubicBezTo>
                <a:cubicBezTo>
                  <a:pt x="2436365" y="865912"/>
                  <a:pt x="2427168" y="864377"/>
                  <a:pt x="2416438" y="856702"/>
                </a:cubicBezTo>
                <a:cubicBezTo>
                  <a:pt x="2405710" y="849027"/>
                  <a:pt x="2402644" y="835212"/>
                  <a:pt x="2401111" y="824466"/>
                </a:cubicBezTo>
                <a:cubicBezTo>
                  <a:pt x="2401111" y="824466"/>
                  <a:pt x="2401111" y="824466"/>
                  <a:pt x="2379652" y="824466"/>
                </a:cubicBezTo>
                <a:cubicBezTo>
                  <a:pt x="2379652" y="824466"/>
                  <a:pt x="2379652" y="824466"/>
                  <a:pt x="2379652" y="884332"/>
                </a:cubicBezTo>
                <a:cubicBezTo>
                  <a:pt x="2379652" y="884332"/>
                  <a:pt x="2379652" y="884332"/>
                  <a:pt x="2401111" y="884332"/>
                </a:cubicBezTo>
                <a:cubicBezTo>
                  <a:pt x="2401111" y="884332"/>
                  <a:pt x="2401111" y="884332"/>
                  <a:pt x="2401111" y="856702"/>
                </a:cubicBezTo>
                <a:cubicBezTo>
                  <a:pt x="2413373" y="879727"/>
                  <a:pt x="2427168" y="887402"/>
                  <a:pt x="2454758" y="887402"/>
                </a:cubicBezTo>
                <a:cubicBezTo>
                  <a:pt x="2480815" y="887402"/>
                  <a:pt x="2496142" y="873587"/>
                  <a:pt x="2508404" y="856702"/>
                </a:cubicBezTo>
                <a:cubicBezTo>
                  <a:pt x="2513002" y="849027"/>
                  <a:pt x="2513002" y="839817"/>
                  <a:pt x="2513002" y="830606"/>
                </a:cubicBezTo>
                <a:cubicBezTo>
                  <a:pt x="2513002" y="792231"/>
                  <a:pt x="2480815" y="786091"/>
                  <a:pt x="2450159" y="779951"/>
                </a:cubicBezTo>
                <a:cubicBezTo>
                  <a:pt x="2437897" y="778416"/>
                  <a:pt x="2425635" y="776881"/>
                  <a:pt x="2416438" y="770741"/>
                </a:cubicBezTo>
                <a:cubicBezTo>
                  <a:pt x="2411841" y="767671"/>
                  <a:pt x="2408775" y="759995"/>
                  <a:pt x="2408775" y="753855"/>
                </a:cubicBezTo>
                <a:cubicBezTo>
                  <a:pt x="2408775" y="732365"/>
                  <a:pt x="2427168" y="723155"/>
                  <a:pt x="2447094" y="723155"/>
                </a:cubicBezTo>
                <a:cubicBezTo>
                  <a:pt x="2453225" y="723155"/>
                  <a:pt x="2459356" y="724690"/>
                  <a:pt x="2463954" y="726225"/>
                </a:cubicBezTo>
                <a:cubicBezTo>
                  <a:pt x="2483880" y="732365"/>
                  <a:pt x="2488478" y="746180"/>
                  <a:pt x="2488478" y="764600"/>
                </a:cubicBezTo>
                <a:cubicBezTo>
                  <a:pt x="2488478" y="764600"/>
                  <a:pt x="2488478" y="764600"/>
                  <a:pt x="2509938" y="764600"/>
                </a:cubicBezTo>
                <a:cubicBezTo>
                  <a:pt x="2509938" y="764600"/>
                  <a:pt x="2509938" y="764600"/>
                  <a:pt x="2509938" y="707805"/>
                </a:cubicBezTo>
                <a:cubicBezTo>
                  <a:pt x="2509938" y="707805"/>
                  <a:pt x="2509938" y="707805"/>
                  <a:pt x="2488478" y="707805"/>
                </a:cubicBezTo>
                <a:cubicBezTo>
                  <a:pt x="2488478" y="707805"/>
                  <a:pt x="2488478" y="707805"/>
                  <a:pt x="2488478" y="724690"/>
                </a:cubicBezTo>
                <a:cubicBezTo>
                  <a:pt x="2479282" y="709340"/>
                  <a:pt x="2460889" y="701664"/>
                  <a:pt x="2444029" y="701664"/>
                </a:cubicBezTo>
                <a:close/>
                <a:moveTo>
                  <a:pt x="501676" y="695322"/>
                </a:moveTo>
                <a:cubicBezTo>
                  <a:pt x="478730" y="695322"/>
                  <a:pt x="460372" y="715209"/>
                  <a:pt x="460372" y="738155"/>
                </a:cubicBezTo>
                <a:cubicBezTo>
                  <a:pt x="461902" y="761102"/>
                  <a:pt x="480259" y="779459"/>
                  <a:pt x="503206" y="779459"/>
                </a:cubicBezTo>
                <a:cubicBezTo>
                  <a:pt x="526153" y="777930"/>
                  <a:pt x="544510" y="759572"/>
                  <a:pt x="544510" y="736626"/>
                </a:cubicBezTo>
                <a:cubicBezTo>
                  <a:pt x="544510" y="713679"/>
                  <a:pt x="524623" y="695322"/>
                  <a:pt x="501676" y="695322"/>
                </a:cubicBezTo>
                <a:close/>
                <a:moveTo>
                  <a:pt x="1249283" y="693938"/>
                </a:moveTo>
                <a:cubicBezTo>
                  <a:pt x="1240308" y="692411"/>
                  <a:pt x="1230761" y="694320"/>
                  <a:pt x="1223123" y="699667"/>
                </a:cubicBezTo>
                <a:cubicBezTo>
                  <a:pt x="1206319" y="710360"/>
                  <a:pt x="1201736" y="733274"/>
                  <a:pt x="1213957" y="750078"/>
                </a:cubicBezTo>
                <a:cubicBezTo>
                  <a:pt x="1224650" y="765354"/>
                  <a:pt x="1246037" y="769936"/>
                  <a:pt x="1262841" y="759243"/>
                </a:cubicBezTo>
                <a:cubicBezTo>
                  <a:pt x="1279645" y="747022"/>
                  <a:pt x="1282700" y="725636"/>
                  <a:pt x="1272007" y="708832"/>
                </a:cubicBezTo>
                <a:cubicBezTo>
                  <a:pt x="1266660" y="700431"/>
                  <a:pt x="1258258" y="695466"/>
                  <a:pt x="1249283" y="693938"/>
                </a:cubicBezTo>
                <a:close/>
                <a:moveTo>
                  <a:pt x="1419262" y="682658"/>
                </a:moveTo>
                <a:cubicBezTo>
                  <a:pt x="1408705" y="682850"/>
                  <a:pt x="1398149" y="687072"/>
                  <a:pt x="1389853" y="694749"/>
                </a:cubicBezTo>
                <a:cubicBezTo>
                  <a:pt x="1374773" y="711639"/>
                  <a:pt x="1374773" y="737742"/>
                  <a:pt x="1391361" y="754632"/>
                </a:cubicBezTo>
                <a:cubicBezTo>
                  <a:pt x="1407951" y="771522"/>
                  <a:pt x="1433590" y="769987"/>
                  <a:pt x="1448671" y="753097"/>
                </a:cubicBezTo>
                <a:cubicBezTo>
                  <a:pt x="1465261" y="737742"/>
                  <a:pt x="1465261" y="710104"/>
                  <a:pt x="1448671" y="694749"/>
                </a:cubicBezTo>
                <a:cubicBezTo>
                  <a:pt x="1440376" y="686304"/>
                  <a:pt x="1429819" y="682466"/>
                  <a:pt x="1419262" y="682658"/>
                </a:cubicBezTo>
                <a:close/>
                <a:moveTo>
                  <a:pt x="1583259" y="665147"/>
                </a:moveTo>
                <a:lnTo>
                  <a:pt x="1615942" y="665147"/>
                </a:lnTo>
                <a:cubicBezTo>
                  <a:pt x="1620305" y="665153"/>
                  <a:pt x="1624752" y="665390"/>
                  <a:pt x="1629281" y="665855"/>
                </a:cubicBezTo>
                <a:cubicBezTo>
                  <a:pt x="1633811" y="666321"/>
                  <a:pt x="1638258" y="666974"/>
                  <a:pt x="1642621" y="667814"/>
                </a:cubicBezTo>
                <a:cubicBezTo>
                  <a:pt x="1658096" y="671177"/>
                  <a:pt x="1670460" y="677900"/>
                  <a:pt x="1679711" y="687982"/>
                </a:cubicBezTo>
                <a:cubicBezTo>
                  <a:pt x="1688963" y="698063"/>
                  <a:pt x="1695621" y="709997"/>
                  <a:pt x="1699685" y="723784"/>
                </a:cubicBezTo>
                <a:cubicBezTo>
                  <a:pt x="1703748" y="737570"/>
                  <a:pt x="1705737" y="751703"/>
                  <a:pt x="1705650" y="766181"/>
                </a:cubicBezTo>
                <a:cubicBezTo>
                  <a:pt x="1705712" y="778518"/>
                  <a:pt x="1703837" y="791023"/>
                  <a:pt x="1700022" y="803694"/>
                </a:cubicBezTo>
                <a:cubicBezTo>
                  <a:pt x="1696208" y="816364"/>
                  <a:pt x="1690079" y="827201"/>
                  <a:pt x="1681639" y="836205"/>
                </a:cubicBezTo>
                <a:cubicBezTo>
                  <a:pt x="1671425" y="846382"/>
                  <a:pt x="1660171" y="852953"/>
                  <a:pt x="1647872" y="855920"/>
                </a:cubicBezTo>
                <a:cubicBezTo>
                  <a:pt x="1635576" y="858886"/>
                  <a:pt x="1622486" y="860206"/>
                  <a:pt x="1608605" y="859879"/>
                </a:cubicBezTo>
                <a:lnTo>
                  <a:pt x="1583259" y="859879"/>
                </a:lnTo>
                <a:close/>
                <a:moveTo>
                  <a:pt x="951961" y="664607"/>
                </a:moveTo>
                <a:cubicBezTo>
                  <a:pt x="947358" y="666523"/>
                  <a:pt x="943521" y="670355"/>
                  <a:pt x="941219" y="675720"/>
                </a:cubicBezTo>
                <a:cubicBezTo>
                  <a:pt x="936615" y="686449"/>
                  <a:pt x="942754" y="697178"/>
                  <a:pt x="951961" y="701777"/>
                </a:cubicBezTo>
                <a:cubicBezTo>
                  <a:pt x="962704" y="704842"/>
                  <a:pt x="974981" y="700244"/>
                  <a:pt x="978050" y="689515"/>
                </a:cubicBezTo>
                <a:cubicBezTo>
                  <a:pt x="982653" y="680318"/>
                  <a:pt x="976515" y="668056"/>
                  <a:pt x="967307" y="664990"/>
                </a:cubicBezTo>
                <a:cubicBezTo>
                  <a:pt x="961936" y="662691"/>
                  <a:pt x="956565" y="662691"/>
                  <a:pt x="951961" y="664607"/>
                </a:cubicBezTo>
                <a:close/>
                <a:moveTo>
                  <a:pt x="2691564" y="663564"/>
                </a:moveTo>
                <a:cubicBezTo>
                  <a:pt x="2691564" y="663564"/>
                  <a:pt x="2691564" y="663564"/>
                  <a:pt x="2664131" y="672763"/>
                </a:cubicBezTo>
                <a:cubicBezTo>
                  <a:pt x="2664131" y="672763"/>
                  <a:pt x="2664131" y="672763"/>
                  <a:pt x="2664131" y="708025"/>
                </a:cubicBezTo>
                <a:cubicBezTo>
                  <a:pt x="2664131" y="708025"/>
                  <a:pt x="2664131" y="708025"/>
                  <a:pt x="2633652" y="708025"/>
                </a:cubicBezTo>
                <a:cubicBezTo>
                  <a:pt x="2633652" y="708025"/>
                  <a:pt x="2633652" y="708025"/>
                  <a:pt x="2633652" y="727956"/>
                </a:cubicBezTo>
                <a:cubicBezTo>
                  <a:pt x="2633652" y="727956"/>
                  <a:pt x="2633652" y="727956"/>
                  <a:pt x="2664131" y="727956"/>
                </a:cubicBezTo>
                <a:cubicBezTo>
                  <a:pt x="2664131" y="727956"/>
                  <a:pt x="2664131" y="727956"/>
                  <a:pt x="2664131" y="832209"/>
                </a:cubicBezTo>
                <a:cubicBezTo>
                  <a:pt x="2664131" y="839875"/>
                  <a:pt x="2664131" y="856739"/>
                  <a:pt x="2667180" y="862872"/>
                </a:cubicBezTo>
                <a:cubicBezTo>
                  <a:pt x="2671751" y="873604"/>
                  <a:pt x="2679372" y="882803"/>
                  <a:pt x="2690041" y="885869"/>
                </a:cubicBezTo>
                <a:cubicBezTo>
                  <a:pt x="2696136" y="885869"/>
                  <a:pt x="2700708" y="887402"/>
                  <a:pt x="2706803" y="887402"/>
                </a:cubicBezTo>
                <a:cubicBezTo>
                  <a:pt x="2712900" y="887402"/>
                  <a:pt x="2718996" y="885869"/>
                  <a:pt x="2725093" y="884336"/>
                </a:cubicBezTo>
                <a:cubicBezTo>
                  <a:pt x="2741855" y="876670"/>
                  <a:pt x="2747952" y="859806"/>
                  <a:pt x="2747952" y="842941"/>
                </a:cubicBezTo>
                <a:cubicBezTo>
                  <a:pt x="2747952" y="839875"/>
                  <a:pt x="2747952" y="835276"/>
                  <a:pt x="2747952" y="830676"/>
                </a:cubicBezTo>
                <a:cubicBezTo>
                  <a:pt x="2747952" y="830676"/>
                  <a:pt x="2747952" y="830676"/>
                  <a:pt x="2726616" y="830676"/>
                </a:cubicBezTo>
                <a:cubicBezTo>
                  <a:pt x="2726616" y="842941"/>
                  <a:pt x="2726616" y="867471"/>
                  <a:pt x="2708328" y="867471"/>
                </a:cubicBezTo>
                <a:cubicBezTo>
                  <a:pt x="2694612" y="867471"/>
                  <a:pt x="2691564" y="853673"/>
                  <a:pt x="2691564" y="842941"/>
                </a:cubicBezTo>
                <a:cubicBezTo>
                  <a:pt x="2691564" y="842941"/>
                  <a:pt x="2691564" y="842941"/>
                  <a:pt x="2691564" y="727956"/>
                </a:cubicBezTo>
                <a:cubicBezTo>
                  <a:pt x="2691564" y="727956"/>
                  <a:pt x="2691564" y="727956"/>
                  <a:pt x="2741855" y="727956"/>
                </a:cubicBezTo>
                <a:cubicBezTo>
                  <a:pt x="2741855" y="727956"/>
                  <a:pt x="2741855" y="727956"/>
                  <a:pt x="2741855" y="708025"/>
                </a:cubicBezTo>
                <a:cubicBezTo>
                  <a:pt x="2741855" y="708025"/>
                  <a:pt x="2741855" y="708025"/>
                  <a:pt x="2691564" y="708025"/>
                </a:cubicBezTo>
                <a:cubicBezTo>
                  <a:pt x="2691564" y="708025"/>
                  <a:pt x="2691564" y="708025"/>
                  <a:pt x="2691564" y="663564"/>
                </a:cubicBezTo>
                <a:close/>
                <a:moveTo>
                  <a:pt x="872431" y="653312"/>
                </a:moveTo>
                <a:cubicBezTo>
                  <a:pt x="865825" y="650795"/>
                  <a:pt x="858274" y="650795"/>
                  <a:pt x="851479" y="653893"/>
                </a:cubicBezTo>
                <a:cubicBezTo>
                  <a:pt x="837888" y="660088"/>
                  <a:pt x="831848" y="675575"/>
                  <a:pt x="837888" y="689514"/>
                </a:cubicBezTo>
                <a:cubicBezTo>
                  <a:pt x="843929" y="705002"/>
                  <a:pt x="859029" y="711197"/>
                  <a:pt x="874130" y="705002"/>
                </a:cubicBezTo>
                <a:cubicBezTo>
                  <a:pt x="887721" y="698807"/>
                  <a:pt x="893761" y="681771"/>
                  <a:pt x="887721" y="667832"/>
                </a:cubicBezTo>
                <a:cubicBezTo>
                  <a:pt x="884701" y="660862"/>
                  <a:pt x="879038" y="655829"/>
                  <a:pt x="872431" y="653312"/>
                </a:cubicBezTo>
                <a:close/>
                <a:moveTo>
                  <a:pt x="1075278" y="649169"/>
                </a:moveTo>
                <a:cubicBezTo>
                  <a:pt x="1061339" y="644523"/>
                  <a:pt x="1044302" y="650718"/>
                  <a:pt x="1038107" y="666206"/>
                </a:cubicBezTo>
                <a:cubicBezTo>
                  <a:pt x="1033461" y="680145"/>
                  <a:pt x="1039656" y="695633"/>
                  <a:pt x="1055144" y="701828"/>
                </a:cubicBezTo>
                <a:cubicBezTo>
                  <a:pt x="1069084" y="708023"/>
                  <a:pt x="1086119" y="700279"/>
                  <a:pt x="1090766" y="686340"/>
                </a:cubicBezTo>
                <a:cubicBezTo>
                  <a:pt x="1096961" y="672401"/>
                  <a:pt x="1089217" y="655365"/>
                  <a:pt x="1075278" y="649169"/>
                </a:cubicBezTo>
                <a:close/>
                <a:moveTo>
                  <a:pt x="2570578" y="645565"/>
                </a:moveTo>
                <a:lnTo>
                  <a:pt x="2570578" y="673527"/>
                </a:lnTo>
                <a:lnTo>
                  <a:pt x="2601539" y="673527"/>
                </a:lnTo>
                <a:lnTo>
                  <a:pt x="2601539" y="645565"/>
                </a:lnTo>
                <a:close/>
                <a:moveTo>
                  <a:pt x="1792492" y="643185"/>
                </a:moveTo>
                <a:lnTo>
                  <a:pt x="1792492" y="671147"/>
                </a:lnTo>
                <a:lnTo>
                  <a:pt x="1823455" y="671147"/>
                </a:lnTo>
                <a:lnTo>
                  <a:pt x="1823455" y="643185"/>
                </a:lnTo>
                <a:close/>
                <a:moveTo>
                  <a:pt x="1520626" y="643185"/>
                </a:moveTo>
                <a:lnTo>
                  <a:pt x="1520626" y="665147"/>
                </a:lnTo>
                <a:lnTo>
                  <a:pt x="1554297" y="665147"/>
                </a:lnTo>
                <a:lnTo>
                  <a:pt x="1554297" y="859879"/>
                </a:lnTo>
                <a:lnTo>
                  <a:pt x="1520626" y="859879"/>
                </a:lnTo>
                <a:lnTo>
                  <a:pt x="1520626" y="881840"/>
                </a:lnTo>
                <a:lnTo>
                  <a:pt x="1605937" y="881840"/>
                </a:lnTo>
                <a:cubicBezTo>
                  <a:pt x="1611758" y="881868"/>
                  <a:pt x="1618039" y="881813"/>
                  <a:pt x="1624778" y="881674"/>
                </a:cubicBezTo>
                <a:cubicBezTo>
                  <a:pt x="1631519" y="881535"/>
                  <a:pt x="1637799" y="881147"/>
                  <a:pt x="1643620" y="880509"/>
                </a:cubicBezTo>
                <a:cubicBezTo>
                  <a:pt x="1658412" y="878541"/>
                  <a:pt x="1671598" y="874575"/>
                  <a:pt x="1683179" y="868609"/>
                </a:cubicBezTo>
                <a:cubicBezTo>
                  <a:pt x="1694760" y="862643"/>
                  <a:pt x="1705023" y="853509"/>
                  <a:pt x="1713973" y="841206"/>
                </a:cubicBezTo>
                <a:cubicBezTo>
                  <a:pt x="1721866" y="829647"/>
                  <a:pt x="1727470" y="816837"/>
                  <a:pt x="1730785" y="802777"/>
                </a:cubicBezTo>
                <a:cubicBezTo>
                  <a:pt x="1734100" y="788716"/>
                  <a:pt x="1735710" y="774739"/>
                  <a:pt x="1735613" y="760846"/>
                </a:cubicBezTo>
                <a:cubicBezTo>
                  <a:pt x="1735585" y="748724"/>
                  <a:pt x="1733975" y="736205"/>
                  <a:pt x="1730785" y="723291"/>
                </a:cubicBezTo>
                <a:cubicBezTo>
                  <a:pt x="1727595" y="710377"/>
                  <a:pt x="1722989" y="698776"/>
                  <a:pt x="1716969" y="688488"/>
                </a:cubicBezTo>
                <a:cubicBezTo>
                  <a:pt x="1709835" y="676957"/>
                  <a:pt x="1700781" y="667598"/>
                  <a:pt x="1689807" y="660411"/>
                </a:cubicBezTo>
                <a:cubicBezTo>
                  <a:pt x="1678832" y="653224"/>
                  <a:pt x="1666770" y="648370"/>
                  <a:pt x="1653626" y="645847"/>
                </a:cubicBezTo>
                <a:cubicBezTo>
                  <a:pt x="1646691" y="644572"/>
                  <a:pt x="1639966" y="643795"/>
                  <a:pt x="1633450" y="643518"/>
                </a:cubicBezTo>
                <a:cubicBezTo>
                  <a:pt x="1626932" y="643241"/>
                  <a:pt x="1620208" y="643130"/>
                  <a:pt x="1613274" y="643185"/>
                </a:cubicBezTo>
                <a:close/>
                <a:moveTo>
                  <a:pt x="777830" y="606626"/>
                </a:moveTo>
                <a:cubicBezTo>
                  <a:pt x="768849" y="605098"/>
                  <a:pt x="759294" y="607008"/>
                  <a:pt x="751651" y="612354"/>
                </a:cubicBezTo>
                <a:cubicBezTo>
                  <a:pt x="734835" y="623048"/>
                  <a:pt x="730249" y="645962"/>
                  <a:pt x="742479" y="661238"/>
                </a:cubicBezTo>
                <a:cubicBezTo>
                  <a:pt x="753180" y="678041"/>
                  <a:pt x="776110" y="682624"/>
                  <a:pt x="791397" y="670403"/>
                </a:cubicBezTo>
                <a:cubicBezTo>
                  <a:pt x="808213" y="659710"/>
                  <a:pt x="812799" y="638324"/>
                  <a:pt x="800570" y="621520"/>
                </a:cubicBezTo>
                <a:cubicBezTo>
                  <a:pt x="795219" y="613118"/>
                  <a:pt x="786811" y="608154"/>
                  <a:pt x="777830" y="606626"/>
                </a:cubicBezTo>
                <a:close/>
                <a:moveTo>
                  <a:pt x="1140116" y="601616"/>
                </a:moveTo>
                <a:cubicBezTo>
                  <a:pt x="1130944" y="603718"/>
                  <a:pt x="1122536" y="609069"/>
                  <a:pt x="1117185" y="616712"/>
                </a:cubicBezTo>
                <a:cubicBezTo>
                  <a:pt x="1106485" y="633528"/>
                  <a:pt x="1111070" y="656458"/>
                  <a:pt x="1127887" y="667159"/>
                </a:cubicBezTo>
                <a:cubicBezTo>
                  <a:pt x="1144702" y="677860"/>
                  <a:pt x="1167632" y="673274"/>
                  <a:pt x="1178333" y="656458"/>
                </a:cubicBezTo>
                <a:cubicBezTo>
                  <a:pt x="1189034" y="639643"/>
                  <a:pt x="1184448" y="616712"/>
                  <a:pt x="1167632" y="606011"/>
                </a:cubicBezTo>
                <a:cubicBezTo>
                  <a:pt x="1159225" y="600661"/>
                  <a:pt x="1149288" y="599514"/>
                  <a:pt x="1140116" y="601616"/>
                </a:cubicBezTo>
                <a:close/>
                <a:moveTo>
                  <a:pt x="675721" y="593477"/>
                </a:moveTo>
                <a:cubicBezTo>
                  <a:pt x="657404" y="587371"/>
                  <a:pt x="636034" y="595003"/>
                  <a:pt x="629928" y="613320"/>
                </a:cubicBezTo>
                <a:cubicBezTo>
                  <a:pt x="622296" y="631638"/>
                  <a:pt x="631455" y="653008"/>
                  <a:pt x="649772" y="659114"/>
                </a:cubicBezTo>
                <a:cubicBezTo>
                  <a:pt x="666563" y="666746"/>
                  <a:pt x="687933" y="657587"/>
                  <a:pt x="695565" y="640796"/>
                </a:cubicBezTo>
                <a:cubicBezTo>
                  <a:pt x="701671" y="622479"/>
                  <a:pt x="694039" y="601109"/>
                  <a:pt x="675721" y="593477"/>
                </a:cubicBezTo>
                <a:close/>
                <a:moveTo>
                  <a:pt x="1272661" y="587071"/>
                </a:moveTo>
                <a:cubicBezTo>
                  <a:pt x="1254330" y="579433"/>
                  <a:pt x="1232943" y="588599"/>
                  <a:pt x="1226833" y="606930"/>
                </a:cubicBezTo>
                <a:cubicBezTo>
                  <a:pt x="1219195" y="625261"/>
                  <a:pt x="1228361" y="645120"/>
                  <a:pt x="1246692" y="652758"/>
                </a:cubicBezTo>
                <a:cubicBezTo>
                  <a:pt x="1263496" y="660396"/>
                  <a:pt x="1284883" y="651231"/>
                  <a:pt x="1292520" y="632900"/>
                </a:cubicBezTo>
                <a:cubicBezTo>
                  <a:pt x="1300158" y="614568"/>
                  <a:pt x="1290992" y="594709"/>
                  <a:pt x="1272661" y="587071"/>
                </a:cubicBezTo>
                <a:close/>
                <a:moveTo>
                  <a:pt x="886757" y="553973"/>
                </a:moveTo>
                <a:cubicBezTo>
                  <a:pt x="866524" y="558642"/>
                  <a:pt x="854073" y="577319"/>
                  <a:pt x="858742" y="597552"/>
                </a:cubicBezTo>
                <a:cubicBezTo>
                  <a:pt x="861855" y="617784"/>
                  <a:pt x="882088" y="630235"/>
                  <a:pt x="900764" y="625566"/>
                </a:cubicBezTo>
                <a:cubicBezTo>
                  <a:pt x="920997" y="620897"/>
                  <a:pt x="933448" y="602221"/>
                  <a:pt x="928779" y="581988"/>
                </a:cubicBezTo>
                <a:cubicBezTo>
                  <a:pt x="925666" y="563311"/>
                  <a:pt x="905433" y="550860"/>
                  <a:pt x="886757" y="553973"/>
                </a:cubicBezTo>
                <a:close/>
                <a:moveTo>
                  <a:pt x="1031594" y="552385"/>
                </a:moveTo>
                <a:cubicBezTo>
                  <a:pt x="1011766" y="549274"/>
                  <a:pt x="993463" y="561720"/>
                  <a:pt x="990413" y="581945"/>
                </a:cubicBezTo>
                <a:cubicBezTo>
                  <a:pt x="985837" y="600614"/>
                  <a:pt x="999564" y="620839"/>
                  <a:pt x="1019392" y="623950"/>
                </a:cubicBezTo>
                <a:cubicBezTo>
                  <a:pt x="1037695" y="627062"/>
                  <a:pt x="1055999" y="614616"/>
                  <a:pt x="1060574" y="594391"/>
                </a:cubicBezTo>
                <a:cubicBezTo>
                  <a:pt x="1063625" y="575722"/>
                  <a:pt x="1051424" y="555497"/>
                  <a:pt x="1031594" y="552385"/>
                </a:cubicBezTo>
                <a:close/>
                <a:moveTo>
                  <a:pt x="972814" y="465984"/>
                </a:moveTo>
                <a:cubicBezTo>
                  <a:pt x="964221" y="462676"/>
                  <a:pt x="954292" y="462676"/>
                  <a:pt x="945126" y="466568"/>
                </a:cubicBezTo>
                <a:cubicBezTo>
                  <a:pt x="926795" y="474353"/>
                  <a:pt x="919157" y="494594"/>
                  <a:pt x="926795" y="513278"/>
                </a:cubicBezTo>
                <a:cubicBezTo>
                  <a:pt x="934433" y="531961"/>
                  <a:pt x="955819" y="539746"/>
                  <a:pt x="972623" y="531961"/>
                </a:cubicBezTo>
                <a:cubicBezTo>
                  <a:pt x="990954" y="524176"/>
                  <a:pt x="1000120" y="503936"/>
                  <a:pt x="992482" y="485252"/>
                </a:cubicBezTo>
                <a:cubicBezTo>
                  <a:pt x="988663" y="475910"/>
                  <a:pt x="981407" y="469293"/>
                  <a:pt x="972814" y="465984"/>
                </a:cubicBezTo>
                <a:close/>
                <a:moveTo>
                  <a:pt x="766987" y="421729"/>
                </a:moveTo>
                <a:cubicBezTo>
                  <a:pt x="756618" y="421729"/>
                  <a:pt x="746438" y="425949"/>
                  <a:pt x="738897" y="434390"/>
                </a:cubicBezTo>
                <a:cubicBezTo>
                  <a:pt x="722308" y="451270"/>
                  <a:pt x="722308" y="477358"/>
                  <a:pt x="738897" y="494238"/>
                </a:cubicBezTo>
                <a:cubicBezTo>
                  <a:pt x="755487" y="509584"/>
                  <a:pt x="781125" y="509584"/>
                  <a:pt x="797715" y="492704"/>
                </a:cubicBezTo>
                <a:cubicBezTo>
                  <a:pt x="812796" y="475823"/>
                  <a:pt x="812796" y="449735"/>
                  <a:pt x="796207" y="434390"/>
                </a:cubicBezTo>
                <a:cubicBezTo>
                  <a:pt x="787912" y="425949"/>
                  <a:pt x="777355" y="421729"/>
                  <a:pt x="766987" y="421729"/>
                </a:cubicBezTo>
                <a:close/>
                <a:moveTo>
                  <a:pt x="1157742" y="391629"/>
                </a:moveTo>
                <a:cubicBezTo>
                  <a:pt x="1149028" y="391436"/>
                  <a:pt x="1140074" y="392976"/>
                  <a:pt x="1131310" y="396441"/>
                </a:cubicBezTo>
                <a:cubicBezTo>
                  <a:pt x="1096259" y="408760"/>
                  <a:pt x="1079494" y="448797"/>
                  <a:pt x="1091688" y="484214"/>
                </a:cubicBezTo>
                <a:cubicBezTo>
                  <a:pt x="1105403" y="519631"/>
                  <a:pt x="1145026" y="536570"/>
                  <a:pt x="1180078" y="522711"/>
                </a:cubicBezTo>
                <a:cubicBezTo>
                  <a:pt x="1215130" y="508852"/>
                  <a:pt x="1231894" y="470355"/>
                  <a:pt x="1218178" y="434938"/>
                </a:cubicBezTo>
                <a:cubicBezTo>
                  <a:pt x="1207891" y="408375"/>
                  <a:pt x="1183890" y="392206"/>
                  <a:pt x="1157742" y="391629"/>
                </a:cubicBezTo>
                <a:close/>
                <a:moveTo>
                  <a:pt x="0" y="0"/>
                </a:moveTo>
                <a:lnTo>
                  <a:pt x="9601186" y="0"/>
                </a:lnTo>
                <a:lnTo>
                  <a:pt x="9601186" y="6857989"/>
                </a:lnTo>
                <a:lnTo>
                  <a:pt x="0" y="685798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1964134"/>
            <a:ext cx="2422179" cy="435185"/>
          </a:xfrm>
          <a:prstGeom prst="rect">
            <a:avLst/>
          </a:prstGeom>
        </p:spPr>
        <p:txBody>
          <a:bodyPr lIns="0" tIns="72000" rIns="0" bIns="72000" anchor="t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kern="0" baseline="0">
                <a:solidFill>
                  <a:schemeClr val="bg2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  <a:lvl2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8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t>Section #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DD110FA-A414-48D6-AE9E-AFF6C72AD2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2405395"/>
            <a:ext cx="8686800" cy="668005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4800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03" name="AutoShape 239">
            <a:extLst>
              <a:ext uri="{FF2B5EF4-FFF2-40B4-BE49-F238E27FC236}">
                <a16:creationId xmlns:a16="http://schemas.microsoft.com/office/drawing/2014/main" id="{275439C7-515C-4D35-B586-9BE532F91B0A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2282825" y="3932238"/>
            <a:ext cx="2984500" cy="1033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44" name="Freeform 446">
            <a:extLst>
              <a:ext uri="{FF2B5EF4-FFF2-40B4-BE49-F238E27FC236}">
                <a16:creationId xmlns:a16="http://schemas.microsoft.com/office/drawing/2014/main" id="{9C333BB8-C0A5-49FE-B9A4-1FB94CB1F64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65301" y="641350"/>
            <a:ext cx="84138" cy="242888"/>
          </a:xfrm>
          <a:custGeom>
            <a:avLst/>
            <a:gdLst>
              <a:gd name="T0" fmla="*/ 53 w 53"/>
              <a:gd name="T1" fmla="*/ 153 h 153"/>
              <a:gd name="T2" fmla="*/ 0 w 53"/>
              <a:gd name="T3" fmla="*/ 153 h 153"/>
              <a:gd name="T4" fmla="*/ 0 w 53"/>
              <a:gd name="T5" fmla="*/ 139 h 153"/>
              <a:gd name="T6" fmla="*/ 18 w 53"/>
              <a:gd name="T7" fmla="*/ 139 h 153"/>
              <a:gd name="T8" fmla="*/ 18 w 53"/>
              <a:gd name="T9" fmla="*/ 54 h 153"/>
              <a:gd name="T10" fmla="*/ 0 w 53"/>
              <a:gd name="T11" fmla="*/ 54 h 153"/>
              <a:gd name="T12" fmla="*/ 0 w 53"/>
              <a:gd name="T13" fmla="*/ 42 h 153"/>
              <a:gd name="T14" fmla="*/ 36 w 53"/>
              <a:gd name="T15" fmla="*/ 42 h 153"/>
              <a:gd name="T16" fmla="*/ 36 w 53"/>
              <a:gd name="T17" fmla="*/ 139 h 153"/>
              <a:gd name="T18" fmla="*/ 53 w 53"/>
              <a:gd name="T19" fmla="*/ 139 h 153"/>
              <a:gd name="T20" fmla="*/ 53 w 53"/>
              <a:gd name="T21" fmla="*/ 153 h 153"/>
              <a:gd name="T22" fmla="*/ 17 w 53"/>
              <a:gd name="T23" fmla="*/ 0 h 153"/>
              <a:gd name="T24" fmla="*/ 37 w 53"/>
              <a:gd name="T25" fmla="*/ 0 h 153"/>
              <a:gd name="T26" fmla="*/ 37 w 53"/>
              <a:gd name="T27" fmla="*/ 18 h 153"/>
              <a:gd name="T28" fmla="*/ 17 w 53"/>
              <a:gd name="T29" fmla="*/ 18 h 153"/>
              <a:gd name="T30" fmla="*/ 17 w 53"/>
              <a:gd name="T31" fmla="*/ 0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153">
                <a:moveTo>
                  <a:pt x="53" y="153"/>
                </a:moveTo>
                <a:lnTo>
                  <a:pt x="0" y="153"/>
                </a:lnTo>
                <a:lnTo>
                  <a:pt x="0" y="139"/>
                </a:lnTo>
                <a:lnTo>
                  <a:pt x="18" y="139"/>
                </a:lnTo>
                <a:lnTo>
                  <a:pt x="18" y="54"/>
                </a:lnTo>
                <a:lnTo>
                  <a:pt x="0" y="54"/>
                </a:lnTo>
                <a:lnTo>
                  <a:pt x="0" y="42"/>
                </a:lnTo>
                <a:lnTo>
                  <a:pt x="36" y="42"/>
                </a:lnTo>
                <a:lnTo>
                  <a:pt x="36" y="139"/>
                </a:lnTo>
                <a:lnTo>
                  <a:pt x="53" y="139"/>
                </a:lnTo>
                <a:lnTo>
                  <a:pt x="53" y="153"/>
                </a:lnTo>
                <a:moveTo>
                  <a:pt x="17" y="0"/>
                </a:moveTo>
                <a:lnTo>
                  <a:pt x="37" y="0"/>
                </a:lnTo>
                <a:lnTo>
                  <a:pt x="37" y="18"/>
                </a:lnTo>
                <a:lnTo>
                  <a:pt x="17" y="18"/>
                </a:lnTo>
                <a:lnTo>
                  <a:pt x="1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84909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7866ABB-1726-4E85-B1CB-9FACF354DB3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43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7866ABB-1726-4E85-B1CB-9FACF354DB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5ABA93B-A8EF-4FA9-92F3-CE12B39197EF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3D9D81E-D0CF-4E8E-89F2-0654F8BA6F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9809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3D9D81E-D0CF-4E8E-89F2-0654F8BA6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E3C6468-555E-46F0-8832-242DC7A4544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93398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71025-7DA5-46AE-8075-4D22BA371B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BodyText">
            <a:extLst>
              <a:ext uri="{FF2B5EF4-FFF2-40B4-BE49-F238E27FC236}">
                <a16:creationId xmlns:a16="http://schemas.microsoft.com/office/drawing/2014/main" id="{CA7766CD-B86A-40A3-A77C-8034449856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79715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78601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A7031-B7D7-4AA4-8751-F9EA0AA64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89E063E9-A28A-4ED9-AADE-0B67AF563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376150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BodyText">
            <a:extLst>
              <a:ext uri="{FF2B5EF4-FFF2-40B4-BE49-F238E27FC236}">
                <a16:creationId xmlns:a16="http://schemas.microsoft.com/office/drawing/2014/main" id="{74109648-603A-4E32-8E8B-5F0A327927B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2492" y="1399032"/>
            <a:ext cx="376150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7876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15" userDrawn="1">
          <p15:clr>
            <a:srgbClr val="FBAE40"/>
          </p15:clr>
        </p15:guide>
        <p15:guide id="2" pos="338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A7031-B7D7-4AA4-8751-F9EA0AA64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89E063E9-A28A-4ED9-AADE-0B67AF563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24724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BodyText">
            <a:extLst>
              <a:ext uri="{FF2B5EF4-FFF2-40B4-BE49-F238E27FC236}">
                <a16:creationId xmlns:a16="http://schemas.microsoft.com/office/drawing/2014/main" id="{74109648-603A-4E32-8E8B-5F0A327927B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3921992" y="1399032"/>
            <a:ext cx="24724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BodyText">
            <a:extLst>
              <a:ext uri="{FF2B5EF4-FFF2-40B4-BE49-F238E27FC236}">
                <a16:creationId xmlns:a16="http://schemas.microsoft.com/office/drawing/2014/main" id="{2B20EC62-9D15-40BD-8FA2-31A4D7A15288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671542" y="1399032"/>
            <a:ext cx="24724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1990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298" userDrawn="1">
          <p15:clr>
            <a:srgbClr val="FBAE40"/>
          </p15:clr>
        </p15:guide>
        <p15:guide id="2" pos="2457" userDrawn="1">
          <p15:clr>
            <a:srgbClr val="FBAE40"/>
          </p15:clr>
        </p15:guide>
        <p15:guide id="3" pos="4200" userDrawn="1">
          <p15:clr>
            <a:srgbClr val="FBAE40"/>
          </p15:clr>
        </p15:guide>
        <p15:guide id="4" pos="404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9A7031-B7D7-4AA4-8751-F9EA0AA64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BodyText">
            <a:extLst>
              <a:ext uri="{FF2B5EF4-FFF2-40B4-BE49-F238E27FC236}">
                <a16:creationId xmlns:a16="http://schemas.microsoft.com/office/drawing/2014/main" id="{89E063E9-A28A-4ED9-AADE-0B67AF563D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72442" y="1399032"/>
            <a:ext cx="3761508" cy="22014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BodyText">
            <a:extLst>
              <a:ext uri="{FF2B5EF4-FFF2-40B4-BE49-F238E27FC236}">
                <a16:creationId xmlns:a16="http://schemas.microsoft.com/office/drawing/2014/main" id="{74109648-603A-4E32-8E8B-5F0A327927B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2492" y="1399032"/>
            <a:ext cx="3761508" cy="22014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BodyText">
            <a:extLst>
              <a:ext uri="{FF2B5EF4-FFF2-40B4-BE49-F238E27FC236}">
                <a16:creationId xmlns:a16="http://schemas.microsoft.com/office/drawing/2014/main" id="{96B1629B-313F-4201-B9AE-178F7285C272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1172442" y="3989832"/>
            <a:ext cx="3761508" cy="22014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BodyText">
            <a:extLst>
              <a:ext uri="{FF2B5EF4-FFF2-40B4-BE49-F238E27FC236}">
                <a16:creationId xmlns:a16="http://schemas.microsoft.com/office/drawing/2014/main" id="{AE938D01-3C31-4E2B-8401-59D1352FB0E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2492" y="3989832"/>
            <a:ext cx="3761508" cy="22014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8701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15">
          <p15:clr>
            <a:srgbClr val="FBAE40"/>
          </p15:clr>
        </p15:guide>
        <p15:guide id="2" pos="338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Relationship Id="rId2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Object 47" hidden="1">
            <a:extLst>
              <a:ext uri="{FF2B5EF4-FFF2-40B4-BE49-F238E27FC236}">
                <a16:creationId xmlns:a16="http://schemas.microsoft.com/office/drawing/2014/main" id="{86BB3E11-5584-4129-A5DE-E9B454A3BD9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479488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9" imgW="347" imgH="348" progId="TCLayout.ActiveDocument.1">
                  <p:embed/>
                </p:oleObj>
              </mc:Choice>
              <mc:Fallback>
                <p:oleObj name="think-cell Slide" r:id="rId19" imgW="347" imgH="348" progId="TCLayout.ActiveDocument.1">
                  <p:embed/>
                  <p:pic>
                    <p:nvPicPr>
                      <p:cNvPr id="48" name="Object 47" hidden="1">
                        <a:extLst>
                          <a:ext uri="{FF2B5EF4-FFF2-40B4-BE49-F238E27FC236}">
                            <a16:creationId xmlns:a16="http://schemas.microsoft.com/office/drawing/2014/main" id="{86BB3E11-5584-4129-A5DE-E9B454A3BD9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46" hidden="1">
            <a:extLst>
              <a:ext uri="{FF2B5EF4-FFF2-40B4-BE49-F238E27FC236}">
                <a16:creationId xmlns:a16="http://schemas.microsoft.com/office/drawing/2014/main" id="{F04C7CCD-9231-4472-B34D-9B05771F4D3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kern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172442" y="384048"/>
            <a:ext cx="7971558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1172442" y="1399032"/>
            <a:ext cx="7971558" cy="479221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fld id="{7ECE2914-4E17-487A-A4E5-C87617449E51}" type="datetimeFigureOut">
              <a:rPr lang="en-GB" smtClean="0"/>
              <a:pPr/>
              <a:t>07/04/2020</a:t>
            </a:fld>
            <a:endParaRPr lang="en-GB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EC183DC4-CDBB-41AF-A850-3AE17C90E4CC}"/>
              </a:ext>
            </a:extLst>
          </p:cNvPr>
          <p:cNvGrpSpPr/>
          <p:nvPr/>
        </p:nvGrpSpPr>
        <p:grpSpPr>
          <a:xfrm>
            <a:off x="-78706" y="-125284"/>
            <a:ext cx="983435" cy="7140161"/>
            <a:chOff x="-78706" y="-125284"/>
            <a:chExt cx="983435" cy="7140161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6BA95BF4-AAA6-4B73-9285-E49086FE8250}"/>
                </a:ext>
              </a:extLst>
            </p:cNvPr>
            <p:cNvSpPr/>
            <p:nvPr/>
          </p:nvSpPr>
          <p:spPr>
            <a:xfrm rot="5400000">
              <a:off x="-3006784" y="2974540"/>
              <a:ext cx="6900567" cy="922459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43B495-0D75-4F9D-BC00-61307CF2707A}"/>
                </a:ext>
              </a:extLst>
            </p:cNvPr>
            <p:cNvSpPr/>
            <p:nvPr/>
          </p:nvSpPr>
          <p:spPr>
            <a:xfrm>
              <a:off x="259253" y="-125284"/>
              <a:ext cx="352328" cy="352328"/>
            </a:xfrm>
            <a:prstGeom prst="ellipse">
              <a:avLst/>
            </a:prstGeom>
            <a:solidFill>
              <a:srgbClr val="EF9A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BEF75745-58C3-42B5-A151-283EBB56AABC}"/>
                </a:ext>
              </a:extLst>
            </p:cNvPr>
            <p:cNvSpPr/>
            <p:nvPr/>
          </p:nvSpPr>
          <p:spPr>
            <a:xfrm>
              <a:off x="494996" y="348584"/>
              <a:ext cx="352328" cy="352328"/>
            </a:xfrm>
            <a:prstGeom prst="ellipse">
              <a:avLst/>
            </a:prstGeom>
            <a:solidFill>
              <a:srgbClr val="E29102">
                <a:alpha val="2509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447D3421-55E3-4E13-8D21-0948C5FCF62B}"/>
                </a:ext>
              </a:extLst>
            </p:cNvPr>
            <p:cNvSpPr/>
            <p:nvPr/>
          </p:nvSpPr>
          <p:spPr>
            <a:xfrm>
              <a:off x="321163" y="751339"/>
              <a:ext cx="195168" cy="19516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F70A440-077B-46B9-A71A-3B028327AB1C}"/>
                </a:ext>
              </a:extLst>
            </p:cNvPr>
            <p:cNvSpPr/>
            <p:nvPr/>
          </p:nvSpPr>
          <p:spPr>
            <a:xfrm>
              <a:off x="-78706" y="938325"/>
              <a:ext cx="164030" cy="164030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0453F342-D6DD-4490-86E8-4BC4A39E8E45}"/>
                </a:ext>
              </a:extLst>
            </p:cNvPr>
            <p:cNvSpPr/>
            <p:nvPr/>
          </p:nvSpPr>
          <p:spPr>
            <a:xfrm>
              <a:off x="61788" y="1150438"/>
              <a:ext cx="164030" cy="164030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4862A61D-A047-4C4E-9796-9C46C5228A48}"/>
                </a:ext>
              </a:extLst>
            </p:cNvPr>
            <p:cNvSpPr/>
            <p:nvPr/>
          </p:nvSpPr>
          <p:spPr>
            <a:xfrm>
              <a:off x="335634" y="1276335"/>
              <a:ext cx="164030" cy="164030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73AB2DD-7915-4D45-9A0E-4B6EA53BD39E}"/>
                </a:ext>
              </a:extLst>
            </p:cNvPr>
            <p:cNvSpPr/>
            <p:nvPr/>
          </p:nvSpPr>
          <p:spPr>
            <a:xfrm>
              <a:off x="578779" y="1221857"/>
              <a:ext cx="164030" cy="164030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81E193F4-3CDD-4235-BF9D-70DBB60A8EE1}"/>
                </a:ext>
              </a:extLst>
            </p:cNvPr>
            <p:cNvSpPr/>
            <p:nvPr/>
          </p:nvSpPr>
          <p:spPr>
            <a:xfrm>
              <a:off x="547564" y="1527101"/>
              <a:ext cx="164030" cy="164030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2A3ADE7-EC3C-402E-8154-25EFA2A5F735}"/>
                </a:ext>
              </a:extLst>
            </p:cNvPr>
            <p:cNvSpPr/>
            <p:nvPr/>
          </p:nvSpPr>
          <p:spPr>
            <a:xfrm>
              <a:off x="664384" y="1914444"/>
              <a:ext cx="164030" cy="164030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6B63E845-0610-4177-AB97-009EDD86B875}"/>
                </a:ext>
              </a:extLst>
            </p:cNvPr>
            <p:cNvSpPr/>
            <p:nvPr/>
          </p:nvSpPr>
          <p:spPr>
            <a:xfrm>
              <a:off x="488309" y="1811555"/>
              <a:ext cx="128034" cy="128034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0807E81F-1B27-45EC-BBDD-6D98EDE8CA8F}"/>
                </a:ext>
              </a:extLst>
            </p:cNvPr>
            <p:cNvSpPr/>
            <p:nvPr/>
          </p:nvSpPr>
          <p:spPr>
            <a:xfrm>
              <a:off x="164365" y="1445140"/>
              <a:ext cx="128034" cy="128034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4E0588F6-8AD2-43E7-8238-02A1DD410829}"/>
                </a:ext>
              </a:extLst>
            </p:cNvPr>
            <p:cNvSpPr/>
            <p:nvPr/>
          </p:nvSpPr>
          <p:spPr>
            <a:xfrm>
              <a:off x="490690" y="2411178"/>
              <a:ext cx="128034" cy="128034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C738F51-D360-415E-9A06-7A07C35C29A8}"/>
                </a:ext>
              </a:extLst>
            </p:cNvPr>
            <p:cNvSpPr/>
            <p:nvPr/>
          </p:nvSpPr>
          <p:spPr>
            <a:xfrm>
              <a:off x="666765" y="2222803"/>
              <a:ext cx="164030" cy="164030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FB1FCB2-86D6-47D0-95DC-C4F330781941}"/>
                </a:ext>
              </a:extLst>
            </p:cNvPr>
            <p:cNvSpPr/>
            <p:nvPr/>
          </p:nvSpPr>
          <p:spPr>
            <a:xfrm>
              <a:off x="560524" y="2671287"/>
              <a:ext cx="164030" cy="164030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8311122A-A465-47C5-9462-DF2B6FFA88CE}"/>
                </a:ext>
              </a:extLst>
            </p:cNvPr>
            <p:cNvSpPr/>
            <p:nvPr/>
          </p:nvSpPr>
          <p:spPr>
            <a:xfrm>
              <a:off x="605499" y="3037274"/>
              <a:ext cx="164030" cy="164030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8B22015-8D92-4D1C-B989-9D660325B6C1}"/>
                </a:ext>
              </a:extLst>
            </p:cNvPr>
            <p:cNvSpPr/>
            <p:nvPr/>
          </p:nvSpPr>
          <p:spPr>
            <a:xfrm>
              <a:off x="181426" y="2799706"/>
              <a:ext cx="128034" cy="128034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58331633-191F-44A8-9AFB-44A6F710CD37}"/>
                </a:ext>
              </a:extLst>
            </p:cNvPr>
            <p:cNvSpPr/>
            <p:nvPr/>
          </p:nvSpPr>
          <p:spPr>
            <a:xfrm>
              <a:off x="355357" y="3004413"/>
              <a:ext cx="164030" cy="164030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1BA91A2-7FDE-4A17-AF4C-AA70B5DCBD48}"/>
                </a:ext>
              </a:extLst>
            </p:cNvPr>
            <p:cNvSpPr/>
            <p:nvPr/>
          </p:nvSpPr>
          <p:spPr>
            <a:xfrm>
              <a:off x="81413" y="3237273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40F1968D-AE08-462E-85B5-4954D4369C36}"/>
                </a:ext>
              </a:extLst>
            </p:cNvPr>
            <p:cNvSpPr/>
            <p:nvPr/>
          </p:nvSpPr>
          <p:spPr>
            <a:xfrm flipH="1" flipV="1">
              <a:off x="157037" y="6662549"/>
              <a:ext cx="352328" cy="352328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4B541FD2-8A87-4284-8509-765BA5FC7DC6}"/>
                </a:ext>
              </a:extLst>
            </p:cNvPr>
            <p:cNvSpPr/>
            <p:nvPr/>
          </p:nvSpPr>
          <p:spPr>
            <a:xfrm flipH="1" flipV="1">
              <a:off x="-78706" y="6188681"/>
              <a:ext cx="352328" cy="352328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13793601-8F82-48BA-BC5E-5EB38667E76C}"/>
                </a:ext>
              </a:extLst>
            </p:cNvPr>
            <p:cNvSpPr/>
            <p:nvPr/>
          </p:nvSpPr>
          <p:spPr>
            <a:xfrm flipH="1" flipV="1">
              <a:off x="252287" y="5943086"/>
              <a:ext cx="195168" cy="195168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3224AD64-2425-44FE-B577-2504B7667AAD}"/>
                </a:ext>
              </a:extLst>
            </p:cNvPr>
            <p:cNvSpPr/>
            <p:nvPr/>
          </p:nvSpPr>
          <p:spPr>
            <a:xfrm flipH="1" flipV="1">
              <a:off x="683294" y="5787238"/>
              <a:ext cx="164030" cy="164030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647585DA-F2C0-462A-A1B9-254F90E015DF}"/>
                </a:ext>
              </a:extLst>
            </p:cNvPr>
            <p:cNvSpPr/>
            <p:nvPr/>
          </p:nvSpPr>
          <p:spPr>
            <a:xfrm flipH="1" flipV="1">
              <a:off x="542800" y="5575125"/>
              <a:ext cx="164030" cy="164030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053F0C5D-67EA-43D8-887A-FFE46F648697}"/>
                </a:ext>
              </a:extLst>
            </p:cNvPr>
            <p:cNvSpPr/>
            <p:nvPr/>
          </p:nvSpPr>
          <p:spPr>
            <a:xfrm flipH="1" flipV="1">
              <a:off x="268954" y="5449228"/>
              <a:ext cx="164030" cy="164030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547D154B-1862-4A35-B561-FFAE18843682}"/>
                </a:ext>
              </a:extLst>
            </p:cNvPr>
            <p:cNvSpPr/>
            <p:nvPr/>
          </p:nvSpPr>
          <p:spPr>
            <a:xfrm flipH="1" flipV="1">
              <a:off x="25809" y="5503706"/>
              <a:ext cx="164030" cy="164030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1B552B10-6294-447B-A80C-D51039BD274C}"/>
                </a:ext>
              </a:extLst>
            </p:cNvPr>
            <p:cNvSpPr/>
            <p:nvPr/>
          </p:nvSpPr>
          <p:spPr>
            <a:xfrm flipH="1" flipV="1">
              <a:off x="57024" y="5198462"/>
              <a:ext cx="164030" cy="164030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CD2583E0-6242-4412-B493-640203190A73}"/>
                </a:ext>
              </a:extLst>
            </p:cNvPr>
            <p:cNvSpPr/>
            <p:nvPr/>
          </p:nvSpPr>
          <p:spPr>
            <a:xfrm flipH="1" flipV="1">
              <a:off x="-59796" y="4811119"/>
              <a:ext cx="164030" cy="164030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80D7E382-1A9D-4E7C-976C-0B67D59F244D}"/>
                </a:ext>
              </a:extLst>
            </p:cNvPr>
            <p:cNvSpPr/>
            <p:nvPr/>
          </p:nvSpPr>
          <p:spPr>
            <a:xfrm flipH="1" flipV="1">
              <a:off x="152275" y="4950004"/>
              <a:ext cx="128034" cy="128034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BD3DC3EA-8698-4DBB-9982-BB2FB6B718F2}"/>
                </a:ext>
              </a:extLst>
            </p:cNvPr>
            <p:cNvSpPr/>
            <p:nvPr/>
          </p:nvSpPr>
          <p:spPr>
            <a:xfrm flipH="1" flipV="1">
              <a:off x="476219" y="5316419"/>
              <a:ext cx="128034" cy="128034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40BDED5D-1EB6-4EC2-81B0-992E4859F5C5}"/>
                </a:ext>
              </a:extLst>
            </p:cNvPr>
            <p:cNvSpPr/>
            <p:nvPr/>
          </p:nvSpPr>
          <p:spPr>
            <a:xfrm flipH="1" flipV="1">
              <a:off x="245443" y="4463805"/>
              <a:ext cx="128034" cy="128034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A0AA9583-522D-41DC-8547-778D3E3D5B92}"/>
                </a:ext>
              </a:extLst>
            </p:cNvPr>
            <p:cNvSpPr/>
            <p:nvPr/>
          </p:nvSpPr>
          <p:spPr>
            <a:xfrm flipH="1" flipV="1">
              <a:off x="-62177" y="450276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47E3CAEE-F088-4FBB-81A8-15A764FE4177}"/>
                </a:ext>
              </a:extLst>
            </p:cNvPr>
            <p:cNvSpPr/>
            <p:nvPr/>
          </p:nvSpPr>
          <p:spPr>
            <a:xfrm flipH="1" flipV="1">
              <a:off x="115015" y="4202708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DE2F2B58-DE6A-4392-8C45-AA88F80DDA27}"/>
                </a:ext>
              </a:extLst>
            </p:cNvPr>
            <p:cNvSpPr/>
            <p:nvPr/>
          </p:nvSpPr>
          <p:spPr>
            <a:xfrm flipH="1" flipV="1">
              <a:off x="59591" y="392986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40893614-0E99-4045-96F0-03558BEC47CD}"/>
                </a:ext>
              </a:extLst>
            </p:cNvPr>
            <p:cNvSpPr/>
            <p:nvPr/>
          </p:nvSpPr>
          <p:spPr>
            <a:xfrm flipH="1" flipV="1">
              <a:off x="411789" y="4088771"/>
              <a:ext cx="128034" cy="128034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445E0F50-2FDD-4496-A6EF-1818BFDD651A}"/>
                </a:ext>
              </a:extLst>
            </p:cNvPr>
            <p:cNvSpPr/>
            <p:nvPr/>
          </p:nvSpPr>
          <p:spPr>
            <a:xfrm flipH="1" flipV="1">
              <a:off x="249231" y="372115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42383E67-22C7-499C-9D03-FAE681B32DBE}"/>
                </a:ext>
              </a:extLst>
            </p:cNvPr>
            <p:cNvSpPr/>
            <p:nvPr/>
          </p:nvSpPr>
          <p:spPr>
            <a:xfrm flipH="1" flipV="1">
              <a:off x="344586" y="341321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F654F607-E280-4F55-A63A-6654BF24CC5A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959" y="6330107"/>
            <a:ext cx="1117501" cy="386464"/>
          </a:xfrm>
          <a:prstGeom prst="rect">
            <a:avLst/>
          </a:prstGeom>
        </p:spPr>
      </p:pic>
      <p:graphicFrame>
        <p:nvGraphicFramePr>
          <p:cNvPr id="50" name="Object 49" hidden="1">
            <a:extLst>
              <a:ext uri="{FF2B5EF4-FFF2-40B4-BE49-F238E27FC236}">
                <a16:creationId xmlns:a16="http://schemas.microsoft.com/office/drawing/2014/main" id="{AFDFDC2D-9792-496D-87E9-F2211FF2FA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07633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22" imgW="347" imgH="348" progId="TCLayout.ActiveDocument.1">
                  <p:embed/>
                </p:oleObj>
              </mc:Choice>
              <mc:Fallback>
                <p:oleObj name="think-cell Slide" r:id="rId22" imgW="347" imgH="348" progId="TCLayout.ActiveDocument.1">
                  <p:embed/>
                  <p:pic>
                    <p:nvPicPr>
                      <p:cNvPr id="50" name="Object 49" hidden="1">
                        <a:extLst>
                          <a:ext uri="{FF2B5EF4-FFF2-40B4-BE49-F238E27FC236}">
                            <a16:creationId xmlns:a16="http://schemas.microsoft.com/office/drawing/2014/main" id="{AFDFDC2D-9792-496D-87E9-F2211FF2FA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Rectangle 50" hidden="1">
            <a:extLst>
              <a:ext uri="{FF2B5EF4-FFF2-40B4-BE49-F238E27FC236}">
                <a16:creationId xmlns:a16="http://schemas.microsoft.com/office/drawing/2014/main" id="{E46F834C-ABD3-45A8-B5EB-E26FBAB4BB6E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kern="0" baseline="0" err="1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0EC52FE6-1742-4D6C-80C7-CD41473DFF14}"/>
              </a:ext>
            </a:extLst>
          </p:cNvPr>
          <p:cNvGrpSpPr/>
          <p:nvPr userDrawn="1"/>
        </p:nvGrpSpPr>
        <p:grpSpPr>
          <a:xfrm>
            <a:off x="-78706" y="-125284"/>
            <a:ext cx="983435" cy="7140161"/>
            <a:chOff x="-78706" y="-125284"/>
            <a:chExt cx="983435" cy="7140161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B61E9AAD-6698-4BE9-8671-2FE610092DD3}"/>
                </a:ext>
              </a:extLst>
            </p:cNvPr>
            <p:cNvSpPr/>
            <p:nvPr userDrawn="1"/>
          </p:nvSpPr>
          <p:spPr>
            <a:xfrm rot="5400000">
              <a:off x="-3006784" y="2974540"/>
              <a:ext cx="6900567" cy="922459"/>
            </a:xfrm>
            <a:prstGeom prst="rect">
              <a:avLst/>
            </a:prstGeom>
            <a:gradFill flip="none" rotWithShape="1">
              <a:gsLst>
                <a:gs pos="0">
                  <a:srgbClr val="FAA123"/>
                </a:gs>
                <a:gs pos="34000">
                  <a:srgbClr val="BAD530"/>
                </a:gs>
                <a:gs pos="68000">
                  <a:srgbClr val="4FC5B7"/>
                </a:gs>
                <a:gs pos="100000">
                  <a:srgbClr val="AE379B"/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A78F2F12-081C-45CA-864C-082812B7F665}"/>
                </a:ext>
              </a:extLst>
            </p:cNvPr>
            <p:cNvSpPr/>
            <p:nvPr/>
          </p:nvSpPr>
          <p:spPr>
            <a:xfrm>
              <a:off x="259253" y="-125284"/>
              <a:ext cx="352328" cy="352328"/>
            </a:xfrm>
            <a:prstGeom prst="ellipse">
              <a:avLst/>
            </a:prstGeom>
            <a:solidFill>
              <a:srgbClr val="EF9A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9DC62B36-901B-492C-BC08-0EAC5F29ECDF}"/>
                </a:ext>
              </a:extLst>
            </p:cNvPr>
            <p:cNvSpPr/>
            <p:nvPr/>
          </p:nvSpPr>
          <p:spPr>
            <a:xfrm>
              <a:off x="494996" y="348584"/>
              <a:ext cx="352328" cy="352328"/>
            </a:xfrm>
            <a:prstGeom prst="ellipse">
              <a:avLst/>
            </a:prstGeom>
            <a:solidFill>
              <a:srgbClr val="E29102">
                <a:alpha val="25098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1E3CBF50-AAB1-488D-9DA1-3B8845512A9C}"/>
                </a:ext>
              </a:extLst>
            </p:cNvPr>
            <p:cNvSpPr/>
            <p:nvPr/>
          </p:nvSpPr>
          <p:spPr>
            <a:xfrm>
              <a:off x="321163" y="751339"/>
              <a:ext cx="195168" cy="195168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24A70CC0-68AC-4DA4-AD59-561F3DBFB703}"/>
                </a:ext>
              </a:extLst>
            </p:cNvPr>
            <p:cNvSpPr/>
            <p:nvPr/>
          </p:nvSpPr>
          <p:spPr>
            <a:xfrm>
              <a:off x="-78706" y="938325"/>
              <a:ext cx="164030" cy="164030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840DC434-C8BD-45C2-B12D-CE98D5F19051}"/>
                </a:ext>
              </a:extLst>
            </p:cNvPr>
            <p:cNvSpPr/>
            <p:nvPr/>
          </p:nvSpPr>
          <p:spPr>
            <a:xfrm>
              <a:off x="61788" y="1150438"/>
              <a:ext cx="164030" cy="164030"/>
            </a:xfrm>
            <a:prstGeom prst="ellipse">
              <a:avLst/>
            </a:prstGeom>
            <a:solidFill>
              <a:srgbClr val="E29102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C72C7BD6-AB66-4E17-B0B8-9D09B7FAD00A}"/>
                </a:ext>
              </a:extLst>
            </p:cNvPr>
            <p:cNvSpPr/>
            <p:nvPr/>
          </p:nvSpPr>
          <p:spPr>
            <a:xfrm>
              <a:off x="335634" y="1276335"/>
              <a:ext cx="164030" cy="164030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507798BC-F441-42CB-9E05-02BE4D86F299}"/>
                </a:ext>
              </a:extLst>
            </p:cNvPr>
            <p:cNvSpPr/>
            <p:nvPr/>
          </p:nvSpPr>
          <p:spPr>
            <a:xfrm>
              <a:off x="578779" y="1221857"/>
              <a:ext cx="164030" cy="164030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18C2D37A-3EEF-4884-AB17-934A6DE87763}"/>
                </a:ext>
              </a:extLst>
            </p:cNvPr>
            <p:cNvSpPr/>
            <p:nvPr/>
          </p:nvSpPr>
          <p:spPr>
            <a:xfrm>
              <a:off x="547564" y="1527101"/>
              <a:ext cx="164030" cy="164030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61F0D9BE-21DA-457F-912D-0915E2C271CD}"/>
                </a:ext>
              </a:extLst>
            </p:cNvPr>
            <p:cNvSpPr/>
            <p:nvPr/>
          </p:nvSpPr>
          <p:spPr>
            <a:xfrm>
              <a:off x="664384" y="1914444"/>
              <a:ext cx="164030" cy="164030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EB0405D6-3B27-41C1-B35C-80C50AFD87CE}"/>
                </a:ext>
              </a:extLst>
            </p:cNvPr>
            <p:cNvSpPr/>
            <p:nvPr/>
          </p:nvSpPr>
          <p:spPr>
            <a:xfrm>
              <a:off x="488309" y="1811555"/>
              <a:ext cx="128034" cy="128034"/>
            </a:xfrm>
            <a:prstGeom prst="ellipse">
              <a:avLst/>
            </a:prstGeom>
            <a:solidFill>
              <a:srgbClr val="97A7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5212172F-8299-4C4F-875C-2B8263F10859}"/>
                </a:ext>
              </a:extLst>
            </p:cNvPr>
            <p:cNvSpPr/>
            <p:nvPr/>
          </p:nvSpPr>
          <p:spPr>
            <a:xfrm>
              <a:off x="164365" y="1445140"/>
              <a:ext cx="128034" cy="128034"/>
            </a:xfrm>
            <a:prstGeom prst="ellipse">
              <a:avLst/>
            </a:prstGeom>
            <a:solidFill>
              <a:srgbClr val="FAA123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C09AD263-92C3-4EF5-BEBE-8F8B841377DF}"/>
                </a:ext>
              </a:extLst>
            </p:cNvPr>
            <p:cNvSpPr/>
            <p:nvPr/>
          </p:nvSpPr>
          <p:spPr>
            <a:xfrm>
              <a:off x="490690" y="2411178"/>
              <a:ext cx="128034" cy="128034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6" name="Oval 65">
              <a:extLst>
                <a:ext uri="{FF2B5EF4-FFF2-40B4-BE49-F238E27FC236}">
                  <a16:creationId xmlns:a16="http://schemas.microsoft.com/office/drawing/2014/main" id="{DF050020-6CCC-4CDA-ACB3-7EFEE03C3FA6}"/>
                </a:ext>
              </a:extLst>
            </p:cNvPr>
            <p:cNvSpPr/>
            <p:nvPr/>
          </p:nvSpPr>
          <p:spPr>
            <a:xfrm>
              <a:off x="666765" y="2222803"/>
              <a:ext cx="164030" cy="164030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A1891385-A494-4586-BB0E-116A956C8607}"/>
                </a:ext>
              </a:extLst>
            </p:cNvPr>
            <p:cNvSpPr/>
            <p:nvPr/>
          </p:nvSpPr>
          <p:spPr>
            <a:xfrm>
              <a:off x="560524" y="2671287"/>
              <a:ext cx="164030" cy="164030"/>
            </a:xfrm>
            <a:prstGeom prst="ellipse">
              <a:avLst/>
            </a:prstGeom>
            <a:solidFill>
              <a:srgbClr val="ACBD0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8C335EE5-58F7-4DC5-92AD-446297F15C54}"/>
                </a:ext>
              </a:extLst>
            </p:cNvPr>
            <p:cNvSpPr/>
            <p:nvPr/>
          </p:nvSpPr>
          <p:spPr>
            <a:xfrm>
              <a:off x="605499" y="3037274"/>
              <a:ext cx="164030" cy="164030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10CE54C1-3AE9-43CF-B7FE-73D10239DFCE}"/>
                </a:ext>
              </a:extLst>
            </p:cNvPr>
            <p:cNvSpPr/>
            <p:nvPr/>
          </p:nvSpPr>
          <p:spPr>
            <a:xfrm>
              <a:off x="181426" y="2799706"/>
              <a:ext cx="128034" cy="128034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A2CAF0E1-11EA-4937-AD2E-78B6D8DB16AF}"/>
                </a:ext>
              </a:extLst>
            </p:cNvPr>
            <p:cNvSpPr/>
            <p:nvPr/>
          </p:nvSpPr>
          <p:spPr>
            <a:xfrm>
              <a:off x="355357" y="3004413"/>
              <a:ext cx="164030" cy="164030"/>
            </a:xfrm>
            <a:prstGeom prst="ellipse">
              <a:avLst/>
            </a:prstGeom>
            <a:solidFill>
              <a:srgbClr val="BAD53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79584B20-CF44-43AC-AF4A-B3663C60E129}"/>
                </a:ext>
              </a:extLst>
            </p:cNvPr>
            <p:cNvSpPr/>
            <p:nvPr/>
          </p:nvSpPr>
          <p:spPr>
            <a:xfrm>
              <a:off x="81413" y="3237273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2" name="Oval 71">
              <a:extLst>
                <a:ext uri="{FF2B5EF4-FFF2-40B4-BE49-F238E27FC236}">
                  <a16:creationId xmlns:a16="http://schemas.microsoft.com/office/drawing/2014/main" id="{2C9D7EE4-6AAC-4232-9CBD-EAF36C67E88E}"/>
                </a:ext>
              </a:extLst>
            </p:cNvPr>
            <p:cNvSpPr/>
            <p:nvPr/>
          </p:nvSpPr>
          <p:spPr>
            <a:xfrm flipH="1" flipV="1">
              <a:off x="157037" y="6662549"/>
              <a:ext cx="352328" cy="352328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64614D6-8F55-4DD4-ABD5-0C55E71CB38D}"/>
                </a:ext>
              </a:extLst>
            </p:cNvPr>
            <p:cNvSpPr/>
            <p:nvPr/>
          </p:nvSpPr>
          <p:spPr>
            <a:xfrm flipH="1" flipV="1">
              <a:off x="-78706" y="6188681"/>
              <a:ext cx="352328" cy="352328"/>
            </a:xfrm>
            <a:prstGeom prst="ellipse">
              <a:avLst/>
            </a:prstGeom>
            <a:solidFill>
              <a:srgbClr val="D26CC6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1F95892D-ED5A-4A64-95E0-B22F72F7B99E}"/>
                </a:ext>
              </a:extLst>
            </p:cNvPr>
            <p:cNvSpPr/>
            <p:nvPr/>
          </p:nvSpPr>
          <p:spPr>
            <a:xfrm flipH="1" flipV="1">
              <a:off x="252287" y="5943086"/>
              <a:ext cx="195168" cy="195168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C7BC0F69-C3CE-4D39-A069-49F0D07073B1}"/>
                </a:ext>
              </a:extLst>
            </p:cNvPr>
            <p:cNvSpPr/>
            <p:nvPr/>
          </p:nvSpPr>
          <p:spPr>
            <a:xfrm flipH="1" flipV="1">
              <a:off x="683294" y="5787238"/>
              <a:ext cx="164030" cy="164030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C31761D7-8CF7-4B6C-AEE0-B604C533AD9E}"/>
                </a:ext>
              </a:extLst>
            </p:cNvPr>
            <p:cNvSpPr/>
            <p:nvPr/>
          </p:nvSpPr>
          <p:spPr>
            <a:xfrm flipH="1" flipV="1">
              <a:off x="542800" y="5575125"/>
              <a:ext cx="164030" cy="164030"/>
            </a:xfrm>
            <a:prstGeom prst="ellipse">
              <a:avLst/>
            </a:prstGeom>
            <a:solidFill>
              <a:srgbClr val="AE379B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C93D0D67-D486-40F1-B117-13EF922DF3AC}"/>
                </a:ext>
              </a:extLst>
            </p:cNvPr>
            <p:cNvSpPr/>
            <p:nvPr/>
          </p:nvSpPr>
          <p:spPr>
            <a:xfrm flipH="1" flipV="1">
              <a:off x="268954" y="5449228"/>
              <a:ext cx="164030" cy="164030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9AC7FC17-0796-4DBF-B159-614FB7608B66}"/>
                </a:ext>
              </a:extLst>
            </p:cNvPr>
            <p:cNvSpPr/>
            <p:nvPr/>
          </p:nvSpPr>
          <p:spPr>
            <a:xfrm flipH="1" flipV="1">
              <a:off x="25809" y="5503706"/>
              <a:ext cx="164030" cy="164030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2204C010-2DFE-45F4-9278-C8945C31B5B7}"/>
                </a:ext>
              </a:extLst>
            </p:cNvPr>
            <p:cNvSpPr/>
            <p:nvPr/>
          </p:nvSpPr>
          <p:spPr>
            <a:xfrm flipH="1" flipV="1">
              <a:off x="57024" y="5198462"/>
              <a:ext cx="164030" cy="164030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DDF753AC-07FA-4A3F-BA0A-A5476D806E31}"/>
                </a:ext>
              </a:extLst>
            </p:cNvPr>
            <p:cNvSpPr/>
            <p:nvPr/>
          </p:nvSpPr>
          <p:spPr>
            <a:xfrm flipH="1" flipV="1">
              <a:off x="-59796" y="4811119"/>
              <a:ext cx="164030" cy="164030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1" name="Oval 80">
              <a:extLst>
                <a:ext uri="{FF2B5EF4-FFF2-40B4-BE49-F238E27FC236}">
                  <a16:creationId xmlns:a16="http://schemas.microsoft.com/office/drawing/2014/main" id="{4984D111-0D3A-499F-B96B-F83956974276}"/>
                </a:ext>
              </a:extLst>
            </p:cNvPr>
            <p:cNvSpPr/>
            <p:nvPr/>
          </p:nvSpPr>
          <p:spPr>
            <a:xfrm flipH="1" flipV="1">
              <a:off x="152275" y="4950004"/>
              <a:ext cx="128034" cy="128034"/>
            </a:xfrm>
            <a:prstGeom prst="ellipse">
              <a:avLst/>
            </a:prstGeom>
            <a:solidFill>
              <a:srgbClr val="47D0C4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8D3C278E-436A-43FB-9355-A6344D3FCD97}"/>
                </a:ext>
              </a:extLst>
            </p:cNvPr>
            <p:cNvSpPr/>
            <p:nvPr/>
          </p:nvSpPr>
          <p:spPr>
            <a:xfrm flipH="1" flipV="1">
              <a:off x="476219" y="5316419"/>
              <a:ext cx="128034" cy="128034"/>
            </a:xfrm>
            <a:prstGeom prst="ellipse">
              <a:avLst/>
            </a:prstGeom>
            <a:solidFill>
              <a:srgbClr val="AC46A0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EEE34272-9A6B-4B04-B13D-6A30F5480909}"/>
                </a:ext>
              </a:extLst>
            </p:cNvPr>
            <p:cNvSpPr/>
            <p:nvPr/>
          </p:nvSpPr>
          <p:spPr>
            <a:xfrm flipH="1" flipV="1">
              <a:off x="245443" y="4463805"/>
              <a:ext cx="128034" cy="128034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741D1477-1B04-4A04-A675-F1A52AD1593A}"/>
                </a:ext>
              </a:extLst>
            </p:cNvPr>
            <p:cNvSpPr/>
            <p:nvPr/>
          </p:nvSpPr>
          <p:spPr>
            <a:xfrm flipH="1" flipV="1">
              <a:off x="-62177" y="450276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6B27BCDA-040B-451F-AB8D-84145D4640AA}"/>
                </a:ext>
              </a:extLst>
            </p:cNvPr>
            <p:cNvSpPr/>
            <p:nvPr/>
          </p:nvSpPr>
          <p:spPr>
            <a:xfrm flipH="1" flipV="1">
              <a:off x="115015" y="4202708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F4EA49D9-A26D-4F1D-9EBB-8DFA61A1097B}"/>
                </a:ext>
              </a:extLst>
            </p:cNvPr>
            <p:cNvSpPr/>
            <p:nvPr/>
          </p:nvSpPr>
          <p:spPr>
            <a:xfrm flipH="1" flipV="1">
              <a:off x="59591" y="392986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FB84D2F1-A18E-49E3-99EE-646172D29B66}"/>
                </a:ext>
              </a:extLst>
            </p:cNvPr>
            <p:cNvSpPr/>
            <p:nvPr/>
          </p:nvSpPr>
          <p:spPr>
            <a:xfrm flipH="1" flipV="1">
              <a:off x="411789" y="4088771"/>
              <a:ext cx="128034" cy="128034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C8F43AED-03C1-48E9-A31A-D5E47A6E2F77}"/>
                </a:ext>
              </a:extLst>
            </p:cNvPr>
            <p:cNvSpPr/>
            <p:nvPr/>
          </p:nvSpPr>
          <p:spPr>
            <a:xfrm flipH="1" flipV="1">
              <a:off x="249231" y="372115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61BD416E-A8ED-4A41-A855-40AC87EA8ABC}"/>
                </a:ext>
              </a:extLst>
            </p:cNvPr>
            <p:cNvSpPr/>
            <p:nvPr/>
          </p:nvSpPr>
          <p:spPr>
            <a:xfrm flipH="1" flipV="1">
              <a:off x="344586" y="3413210"/>
              <a:ext cx="164030" cy="164030"/>
            </a:xfrm>
            <a:prstGeom prst="ellipse">
              <a:avLst/>
            </a:prstGeom>
            <a:solidFill>
              <a:srgbClr val="1BA498">
                <a:alpha val="50196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3152" tIns="73152" rIns="73152" bIns="73152" rtlCol="0" anchor="ctr"/>
            <a:lstStyle/>
            <a:p>
              <a:pPr algn="ctr"/>
              <a:endParaRPr lang="en-GB" sz="1000" kern="0" err="1">
                <a:solidFill>
                  <a:schemeClr val="tx1"/>
                </a:solidFill>
              </a:endParaRPr>
            </a:p>
          </p:txBody>
        </p:sp>
      </p:grpSp>
      <p:pic>
        <p:nvPicPr>
          <p:cNvPr id="91" name="Picture 90">
            <a:extLst>
              <a:ext uri="{FF2B5EF4-FFF2-40B4-BE49-F238E27FC236}">
                <a16:creationId xmlns:a16="http://schemas.microsoft.com/office/drawing/2014/main" id="{23E5B2D9-61BA-45D4-AFA6-3F87F5B42648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959" y="6330107"/>
            <a:ext cx="1117501" cy="38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873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8" r:id="rId8"/>
    <p:sldLayoutId id="2147483673" r:id="rId9"/>
    <p:sldLayoutId id="2147483669" r:id="rId10"/>
    <p:sldLayoutId id="2147483670" r:id="rId11"/>
    <p:sldLayoutId id="2147483671" r:id="rId12"/>
    <p:sldLayoutId id="2147483667" r:id="rId13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800" kern="0">
          <a:solidFill>
            <a:srgbClr val="595959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180000" indent="-180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600" kern="0">
          <a:solidFill>
            <a:srgbClr val="595959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3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600" kern="0">
          <a:solidFill>
            <a:srgbClr val="595959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5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0">
          <a:solidFill>
            <a:srgbClr val="595959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7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0">
          <a:solidFill>
            <a:srgbClr val="595959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90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600" kern="0">
          <a:solidFill>
            <a:srgbClr val="595959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108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2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90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38" userDrawn="1">
          <p15:clr>
            <a:srgbClr val="F26B43"/>
          </p15:clr>
        </p15:guide>
        <p15:guide id="2" pos="5760">
          <p15:clr>
            <a:srgbClr val="F26B43"/>
          </p15:clr>
        </p15:guide>
        <p15:guide id="3" orient="horz" pos="242">
          <p15:clr>
            <a:srgbClr val="F26B43"/>
          </p15:clr>
        </p15:guide>
        <p15:guide id="4" orient="horz" pos="876" userDrawn="1">
          <p15:clr>
            <a:srgbClr val="F26B43"/>
          </p15:clr>
        </p15:guide>
        <p15:guide id="5" orient="horz" pos="39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http://www.diversityrolemodels.org/" TargetMode="External"/><Relationship Id="rId3" Type="http://schemas.openxmlformats.org/officeDocument/2006/relationships/customXml" Target="../../customXml/item3.xml"/><Relationship Id="rId7" Type="http://schemas.openxmlformats.org/officeDocument/2006/relationships/hyperlink" Target="mailto:adam@diversityrolemodels.org" TargetMode="Externa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PnDgZuGIhH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hyperlink" Target="https://www.youtube.com/watch?v=PnDgZuGIhHs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en.wikipedia.org/wiki/Sibling" TargetMode="External"/><Relationship Id="rId3" Type="http://schemas.openxmlformats.org/officeDocument/2006/relationships/image" Target="../media/image13.jpe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.jpeg"/><Relationship Id="rId5" Type="http://schemas.openxmlformats.org/officeDocument/2006/relationships/hyperlink" Target="http://gatesmillsboxers.com/" TargetMode="External"/><Relationship Id="rId10" Type="http://schemas.openxmlformats.org/officeDocument/2006/relationships/image" Target="../media/image18.jpeg"/><Relationship Id="rId4" Type="http://schemas.openxmlformats.org/officeDocument/2006/relationships/image" Target="../media/image14.jpeg"/><Relationship Id="rId9" Type="http://schemas.openxmlformats.org/officeDocument/2006/relationships/image" Target="../media/image1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pixabay.com/en/couple-african-happy-man-woman-1030744/" TargetMode="External"/><Relationship Id="rId4" Type="http://schemas.openxmlformats.org/officeDocument/2006/relationships/image" Target="../media/image2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pixabay.com/en/couple-african-happy-man-woman-1030744/" TargetMode="External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commons.wikimedia.org/wiki/File:Drawn_love_hearts.sv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" name="Object 158" hidden="1">
            <a:extLst>
              <a:ext uri="{FF2B5EF4-FFF2-40B4-BE49-F238E27FC236}">
                <a16:creationId xmlns:a16="http://schemas.microsoft.com/office/drawing/2014/main" id="{0DF19355-9828-4C59-9870-7447BE4F7F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45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59" name="Object 158" hidden="1">
                        <a:extLst>
                          <a:ext uri="{FF2B5EF4-FFF2-40B4-BE49-F238E27FC236}">
                            <a16:creationId xmlns:a16="http://schemas.microsoft.com/office/drawing/2014/main" id="{0DF19355-9828-4C59-9870-7447BE4F7F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017833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32BBD30F-FF04-413C-B2A6-EF61EB4DF5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32BBD30F-FF04-413C-B2A6-EF61EB4DF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Group 28">
            <a:extLst>
              <a:ext uri="{FF2B5EF4-FFF2-40B4-BE49-F238E27FC236}">
                <a16:creationId xmlns:a16="http://schemas.microsoft.com/office/drawing/2014/main" id="{5A8C247E-46B3-4026-BD0C-C73557C69AFB}"/>
              </a:ext>
            </a:extLst>
          </p:cNvPr>
          <p:cNvGrpSpPr/>
          <p:nvPr/>
        </p:nvGrpSpPr>
        <p:grpSpPr>
          <a:xfrm>
            <a:off x="5241472" y="4786555"/>
            <a:ext cx="2271837" cy="236790"/>
            <a:chOff x="7381752" y="4720153"/>
            <a:chExt cx="2271837" cy="236790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419D56A6-F100-4218-AB80-86358A50A873}"/>
                </a:ext>
              </a:extLst>
            </p:cNvPr>
            <p:cNvGrpSpPr/>
            <p:nvPr/>
          </p:nvGrpSpPr>
          <p:grpSpPr>
            <a:xfrm>
              <a:off x="7381752" y="4720153"/>
              <a:ext cx="237016" cy="236790"/>
              <a:chOff x="6893195" y="4172234"/>
              <a:chExt cx="389358" cy="388986"/>
            </a:xfrm>
          </p:grpSpPr>
          <p:sp>
            <p:nvSpPr>
              <p:cNvPr id="14" name="Freeform 6">
                <a:extLst>
                  <a:ext uri="{FF2B5EF4-FFF2-40B4-BE49-F238E27FC236}">
                    <a16:creationId xmlns:a16="http://schemas.microsoft.com/office/drawing/2014/main" id="{6300F6FF-DFEA-49D6-B50E-3CB78A1647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893195" y="4172234"/>
                <a:ext cx="389358" cy="388986"/>
              </a:xfrm>
              <a:custGeom>
                <a:avLst/>
                <a:gdLst>
                  <a:gd name="T0" fmla="*/ 509 w 600"/>
                  <a:gd name="T1" fmla="*/ 0 h 600"/>
                  <a:gd name="T2" fmla="*/ 91 w 600"/>
                  <a:gd name="T3" fmla="*/ 0 h 600"/>
                  <a:gd name="T4" fmla="*/ 0 w 600"/>
                  <a:gd name="T5" fmla="*/ 91 h 600"/>
                  <a:gd name="T6" fmla="*/ 0 w 600"/>
                  <a:gd name="T7" fmla="*/ 508 h 600"/>
                  <a:gd name="T8" fmla="*/ 91 w 600"/>
                  <a:gd name="T9" fmla="*/ 600 h 600"/>
                  <a:gd name="T10" fmla="*/ 509 w 600"/>
                  <a:gd name="T11" fmla="*/ 600 h 600"/>
                  <a:gd name="T12" fmla="*/ 600 w 600"/>
                  <a:gd name="T13" fmla="*/ 508 h 600"/>
                  <a:gd name="T14" fmla="*/ 600 w 600"/>
                  <a:gd name="T15" fmla="*/ 91 h 600"/>
                  <a:gd name="T16" fmla="*/ 509 w 600"/>
                  <a:gd name="T17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0" h="600">
                    <a:moveTo>
                      <a:pt x="509" y="0"/>
                    </a:moveTo>
                    <a:cubicBezTo>
                      <a:pt x="91" y="0"/>
                      <a:pt x="91" y="0"/>
                      <a:pt x="91" y="0"/>
                    </a:cubicBezTo>
                    <a:cubicBezTo>
                      <a:pt x="41" y="0"/>
                      <a:pt x="0" y="40"/>
                      <a:pt x="0" y="91"/>
                    </a:cubicBezTo>
                    <a:cubicBezTo>
                      <a:pt x="0" y="508"/>
                      <a:pt x="0" y="508"/>
                      <a:pt x="0" y="508"/>
                    </a:cubicBezTo>
                    <a:cubicBezTo>
                      <a:pt x="0" y="559"/>
                      <a:pt x="41" y="600"/>
                      <a:pt x="91" y="600"/>
                    </a:cubicBezTo>
                    <a:cubicBezTo>
                      <a:pt x="509" y="600"/>
                      <a:pt x="509" y="600"/>
                      <a:pt x="509" y="600"/>
                    </a:cubicBezTo>
                    <a:cubicBezTo>
                      <a:pt x="559" y="600"/>
                      <a:pt x="600" y="559"/>
                      <a:pt x="600" y="508"/>
                    </a:cubicBezTo>
                    <a:cubicBezTo>
                      <a:pt x="600" y="91"/>
                      <a:pt x="600" y="91"/>
                      <a:pt x="600" y="91"/>
                    </a:cubicBezTo>
                    <a:cubicBezTo>
                      <a:pt x="600" y="40"/>
                      <a:pt x="559" y="0"/>
                      <a:pt x="509" y="0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25" tIns="45712" rIns="91425" bIns="45712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solidFill>
                    <a:schemeClr val="accent6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6" name="Freeform 412">
                <a:extLst>
                  <a:ext uri="{FF2B5EF4-FFF2-40B4-BE49-F238E27FC236}">
                    <a16:creationId xmlns:a16="http://schemas.microsoft.com/office/drawing/2014/main" id="{0EA3CC4E-AB04-4547-9507-6695020B003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6955799" y="4270484"/>
                <a:ext cx="264152" cy="192486"/>
              </a:xfrm>
              <a:custGeom>
                <a:avLst/>
                <a:gdLst>
                  <a:gd name="T0" fmla="*/ 166 w 189"/>
                  <a:gd name="T1" fmla="*/ 0 h 138"/>
                  <a:gd name="T2" fmla="*/ 23 w 189"/>
                  <a:gd name="T3" fmla="*/ 0 h 138"/>
                  <a:gd name="T4" fmla="*/ 0 w 189"/>
                  <a:gd name="T5" fmla="*/ 23 h 138"/>
                  <a:gd name="T6" fmla="*/ 0 w 189"/>
                  <a:gd name="T7" fmla="*/ 115 h 138"/>
                  <a:gd name="T8" fmla="*/ 23 w 189"/>
                  <a:gd name="T9" fmla="*/ 138 h 138"/>
                  <a:gd name="T10" fmla="*/ 166 w 189"/>
                  <a:gd name="T11" fmla="*/ 138 h 138"/>
                  <a:gd name="T12" fmla="*/ 189 w 189"/>
                  <a:gd name="T13" fmla="*/ 115 h 138"/>
                  <a:gd name="T14" fmla="*/ 189 w 189"/>
                  <a:gd name="T15" fmla="*/ 23 h 138"/>
                  <a:gd name="T16" fmla="*/ 166 w 189"/>
                  <a:gd name="T17" fmla="*/ 0 h 138"/>
                  <a:gd name="T18" fmla="*/ 160 w 189"/>
                  <a:gd name="T19" fmla="*/ 17 h 138"/>
                  <a:gd name="T20" fmla="*/ 95 w 189"/>
                  <a:gd name="T21" fmla="*/ 64 h 138"/>
                  <a:gd name="T22" fmla="*/ 34 w 189"/>
                  <a:gd name="T23" fmla="*/ 17 h 138"/>
                  <a:gd name="T24" fmla="*/ 160 w 189"/>
                  <a:gd name="T25" fmla="*/ 17 h 138"/>
                  <a:gd name="T26" fmla="*/ 166 w 189"/>
                  <a:gd name="T27" fmla="*/ 120 h 138"/>
                  <a:gd name="T28" fmla="*/ 23 w 189"/>
                  <a:gd name="T29" fmla="*/ 120 h 138"/>
                  <a:gd name="T30" fmla="*/ 18 w 189"/>
                  <a:gd name="T31" fmla="*/ 115 h 138"/>
                  <a:gd name="T32" fmla="*/ 18 w 189"/>
                  <a:gd name="T33" fmla="*/ 27 h 138"/>
                  <a:gd name="T34" fmla="*/ 95 w 189"/>
                  <a:gd name="T35" fmla="*/ 85 h 138"/>
                  <a:gd name="T36" fmla="*/ 171 w 189"/>
                  <a:gd name="T37" fmla="*/ 32 h 138"/>
                  <a:gd name="T38" fmla="*/ 171 w 189"/>
                  <a:gd name="T39" fmla="*/ 115 h 138"/>
                  <a:gd name="T40" fmla="*/ 166 w 189"/>
                  <a:gd name="T41" fmla="*/ 120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89" h="138">
                    <a:moveTo>
                      <a:pt x="166" y="0"/>
                    </a:moveTo>
                    <a:cubicBezTo>
                      <a:pt x="23" y="0"/>
                      <a:pt x="23" y="0"/>
                      <a:pt x="23" y="0"/>
                    </a:cubicBezTo>
                    <a:cubicBezTo>
                      <a:pt x="11" y="0"/>
                      <a:pt x="0" y="10"/>
                      <a:pt x="0" y="23"/>
                    </a:cubicBezTo>
                    <a:cubicBezTo>
                      <a:pt x="0" y="115"/>
                      <a:pt x="0" y="115"/>
                      <a:pt x="0" y="115"/>
                    </a:cubicBezTo>
                    <a:cubicBezTo>
                      <a:pt x="0" y="128"/>
                      <a:pt x="11" y="138"/>
                      <a:pt x="23" y="138"/>
                    </a:cubicBezTo>
                    <a:cubicBezTo>
                      <a:pt x="166" y="138"/>
                      <a:pt x="166" y="138"/>
                      <a:pt x="166" y="138"/>
                    </a:cubicBezTo>
                    <a:cubicBezTo>
                      <a:pt x="178" y="138"/>
                      <a:pt x="189" y="128"/>
                      <a:pt x="189" y="115"/>
                    </a:cubicBezTo>
                    <a:cubicBezTo>
                      <a:pt x="189" y="23"/>
                      <a:pt x="189" y="23"/>
                      <a:pt x="189" y="23"/>
                    </a:cubicBezTo>
                    <a:cubicBezTo>
                      <a:pt x="189" y="10"/>
                      <a:pt x="178" y="0"/>
                      <a:pt x="166" y="0"/>
                    </a:cubicBezTo>
                    <a:close/>
                    <a:moveTo>
                      <a:pt x="160" y="17"/>
                    </a:moveTo>
                    <a:cubicBezTo>
                      <a:pt x="95" y="64"/>
                      <a:pt x="95" y="64"/>
                      <a:pt x="95" y="64"/>
                    </a:cubicBezTo>
                    <a:cubicBezTo>
                      <a:pt x="34" y="17"/>
                      <a:pt x="34" y="17"/>
                      <a:pt x="34" y="17"/>
                    </a:cubicBezTo>
                    <a:lnTo>
                      <a:pt x="160" y="17"/>
                    </a:lnTo>
                    <a:close/>
                    <a:moveTo>
                      <a:pt x="166" y="120"/>
                    </a:moveTo>
                    <a:cubicBezTo>
                      <a:pt x="23" y="120"/>
                      <a:pt x="23" y="120"/>
                      <a:pt x="23" y="120"/>
                    </a:cubicBezTo>
                    <a:cubicBezTo>
                      <a:pt x="20" y="120"/>
                      <a:pt x="18" y="118"/>
                      <a:pt x="18" y="115"/>
                    </a:cubicBezTo>
                    <a:cubicBezTo>
                      <a:pt x="18" y="27"/>
                      <a:pt x="18" y="27"/>
                      <a:pt x="18" y="27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171" y="32"/>
                      <a:pt x="171" y="32"/>
                      <a:pt x="171" y="32"/>
                    </a:cubicBezTo>
                    <a:cubicBezTo>
                      <a:pt x="171" y="115"/>
                      <a:pt x="171" y="115"/>
                      <a:pt x="171" y="115"/>
                    </a:cubicBezTo>
                    <a:cubicBezTo>
                      <a:pt x="171" y="118"/>
                      <a:pt x="169" y="120"/>
                      <a:pt x="166" y="12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25" tIns="45712" rIns="91425" bIns="45712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solidFill>
                    <a:schemeClr val="accent6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439D208-9328-4EF0-B044-0F89E1094B3C}"/>
                </a:ext>
              </a:extLst>
            </p:cNvPr>
            <p:cNvSpPr/>
            <p:nvPr/>
          </p:nvSpPr>
          <p:spPr>
            <a:xfrm>
              <a:off x="7624031" y="4746215"/>
              <a:ext cx="2029558" cy="184666"/>
            </a:xfrm>
            <a:prstGeom prst="rect">
              <a:avLst/>
            </a:prstGeom>
          </p:spPr>
          <p:txBody>
            <a:bodyPr wrap="square" lIns="72000" tIns="0" rIns="0" bIns="0" anchor="ctr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en-GB" sz="1200">
                  <a:solidFill>
                    <a:schemeClr val="accent6"/>
                  </a:solidFill>
                  <a:latin typeface="Calibri Light" panose="020F0302020204030204" pitchFamily="34" charset="0"/>
                  <a:ea typeface="Calibri" panose="020F0502020204030204" pitchFamily="34" charset="0"/>
                  <a:cs typeface="Calibri Light" panose="020F0302020204030204" pitchFamily="34" charset="0"/>
                  <a:hlinkClick r:id="rId7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info@diversityrolemodels.org</a:t>
              </a:r>
              <a:endParaRPr lang="en-GB" sz="1200" u="none">
                <a:solidFill>
                  <a:schemeClr val="accent6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02AE7DD-DB0C-4010-B2BC-069042DB268A}"/>
              </a:ext>
            </a:extLst>
          </p:cNvPr>
          <p:cNvGrpSpPr/>
          <p:nvPr/>
        </p:nvGrpSpPr>
        <p:grpSpPr>
          <a:xfrm>
            <a:off x="2690825" y="4786555"/>
            <a:ext cx="2131573" cy="236790"/>
            <a:chOff x="4677281" y="4797065"/>
            <a:chExt cx="2131573" cy="23679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34F6F089-5CFE-466B-AE31-0AD5AA7254D4}"/>
                </a:ext>
              </a:extLst>
            </p:cNvPr>
            <p:cNvSpPr/>
            <p:nvPr/>
          </p:nvSpPr>
          <p:spPr>
            <a:xfrm>
              <a:off x="4915318" y="4823127"/>
              <a:ext cx="1893536" cy="184666"/>
            </a:xfrm>
            <a:prstGeom prst="rect">
              <a:avLst/>
            </a:prstGeom>
          </p:spPr>
          <p:txBody>
            <a:bodyPr wrap="square" lIns="72000" tIns="0" rIns="0" bIns="0" anchor="ctr">
              <a:spAutoFit/>
            </a:bodyPr>
            <a:lstStyle/>
            <a:p>
              <a:pPr>
                <a:spcAft>
                  <a:spcPts val="0"/>
                </a:spcAft>
              </a:pPr>
              <a:r>
                <a:rPr lang="en-GB" sz="1200" u="none">
                  <a:solidFill>
                    <a:schemeClr val="accent6"/>
                  </a:solidFill>
                  <a:effectLst/>
                  <a:latin typeface="Calibri Light" panose="020F0302020204030204" pitchFamily="34" charset="0"/>
                  <a:ea typeface="Calibri" panose="020F0502020204030204" pitchFamily="34" charset="0"/>
                  <a:cs typeface="Calibri Light" panose="020F0302020204030204" pitchFamily="34" charset="0"/>
                  <a:hlinkClick r:id="rId8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www.diversityrolemodels.org</a:t>
              </a:r>
              <a:endParaRPr lang="en-GB" sz="1200" u="none">
                <a:solidFill>
                  <a:schemeClr val="accent6"/>
                </a:solidFill>
                <a:effectLst/>
                <a:latin typeface="Calibri Light" panose="020F0302020204030204" pitchFamily="34" charset="0"/>
                <a:ea typeface="Calibri" panose="020F0502020204030204" pitchFamily="34" charset="0"/>
                <a:cs typeface="Calibri Light" panose="020F030202020403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8F6E7B1-738C-4722-8F55-F9B7884DF75C}"/>
                </a:ext>
              </a:extLst>
            </p:cNvPr>
            <p:cNvGrpSpPr/>
            <p:nvPr/>
          </p:nvGrpSpPr>
          <p:grpSpPr>
            <a:xfrm>
              <a:off x="4677281" y="4797065"/>
              <a:ext cx="237016" cy="236790"/>
              <a:chOff x="4677281" y="4797065"/>
              <a:chExt cx="237016" cy="236790"/>
            </a:xfrm>
          </p:grpSpPr>
          <p:sp>
            <p:nvSpPr>
              <p:cNvPr id="11" name="Freeform 6">
                <a:extLst>
                  <a:ext uri="{FF2B5EF4-FFF2-40B4-BE49-F238E27FC236}">
                    <a16:creationId xmlns:a16="http://schemas.microsoft.com/office/drawing/2014/main" id="{B455AACD-6546-4C45-AFB6-048CECEB728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77281" y="4797065"/>
                <a:ext cx="237016" cy="236790"/>
              </a:xfrm>
              <a:custGeom>
                <a:avLst/>
                <a:gdLst>
                  <a:gd name="T0" fmla="*/ 509 w 600"/>
                  <a:gd name="T1" fmla="*/ 0 h 600"/>
                  <a:gd name="T2" fmla="*/ 91 w 600"/>
                  <a:gd name="T3" fmla="*/ 0 h 600"/>
                  <a:gd name="T4" fmla="*/ 0 w 600"/>
                  <a:gd name="T5" fmla="*/ 91 h 600"/>
                  <a:gd name="T6" fmla="*/ 0 w 600"/>
                  <a:gd name="T7" fmla="*/ 508 h 600"/>
                  <a:gd name="T8" fmla="*/ 91 w 600"/>
                  <a:gd name="T9" fmla="*/ 600 h 600"/>
                  <a:gd name="T10" fmla="*/ 509 w 600"/>
                  <a:gd name="T11" fmla="*/ 600 h 600"/>
                  <a:gd name="T12" fmla="*/ 600 w 600"/>
                  <a:gd name="T13" fmla="*/ 508 h 600"/>
                  <a:gd name="T14" fmla="*/ 600 w 600"/>
                  <a:gd name="T15" fmla="*/ 91 h 600"/>
                  <a:gd name="T16" fmla="*/ 509 w 600"/>
                  <a:gd name="T17" fmla="*/ 0 h 6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00" h="600">
                    <a:moveTo>
                      <a:pt x="509" y="0"/>
                    </a:moveTo>
                    <a:cubicBezTo>
                      <a:pt x="91" y="0"/>
                      <a:pt x="91" y="0"/>
                      <a:pt x="91" y="0"/>
                    </a:cubicBezTo>
                    <a:cubicBezTo>
                      <a:pt x="41" y="0"/>
                      <a:pt x="0" y="40"/>
                      <a:pt x="0" y="91"/>
                    </a:cubicBezTo>
                    <a:cubicBezTo>
                      <a:pt x="0" y="508"/>
                      <a:pt x="0" y="508"/>
                      <a:pt x="0" y="508"/>
                    </a:cubicBezTo>
                    <a:cubicBezTo>
                      <a:pt x="0" y="559"/>
                      <a:pt x="41" y="600"/>
                      <a:pt x="91" y="600"/>
                    </a:cubicBezTo>
                    <a:cubicBezTo>
                      <a:pt x="509" y="600"/>
                      <a:pt x="509" y="600"/>
                      <a:pt x="509" y="600"/>
                    </a:cubicBezTo>
                    <a:cubicBezTo>
                      <a:pt x="559" y="600"/>
                      <a:pt x="600" y="559"/>
                      <a:pt x="600" y="508"/>
                    </a:cubicBezTo>
                    <a:cubicBezTo>
                      <a:pt x="600" y="91"/>
                      <a:pt x="600" y="91"/>
                      <a:pt x="600" y="91"/>
                    </a:cubicBezTo>
                    <a:cubicBezTo>
                      <a:pt x="600" y="40"/>
                      <a:pt x="559" y="0"/>
                      <a:pt x="509" y="0"/>
                    </a:cubicBezTo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25" tIns="45712" rIns="91425" bIns="45712" numCol="1" anchor="ctr" anchorCtr="0" compatLnSpc="1">
                <a:prstTxWarp prst="textNoShape">
                  <a:avLst/>
                </a:prstTxWarp>
              </a:bodyPr>
              <a:lstStyle/>
              <a:p>
                <a:endParaRPr lang="en-US" sz="1200">
                  <a:solidFill>
                    <a:schemeClr val="accent6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30" name="Freeform 16">
                <a:extLst>
                  <a:ext uri="{FF2B5EF4-FFF2-40B4-BE49-F238E27FC236}">
                    <a16:creationId xmlns:a16="http://schemas.microsoft.com/office/drawing/2014/main" id="{BE323FB3-1F53-4622-AEBF-A867F261D00B}"/>
                  </a:ext>
                </a:extLst>
              </p:cNvPr>
              <p:cNvSpPr>
                <a:spLocks noEditPoints="1"/>
              </p:cNvSpPr>
              <p:nvPr>
                <p:custDataLst>
                  <p:custData r:id="rId3"/>
                </p:custDataLst>
              </p:nvPr>
            </p:nvSpPr>
            <p:spPr bwMode="gray">
              <a:xfrm>
                <a:off x="4712397" y="4835324"/>
                <a:ext cx="166784" cy="160272"/>
              </a:xfrm>
              <a:custGeom>
                <a:avLst/>
                <a:gdLst>
                  <a:gd name="T0" fmla="*/ 114 w 129"/>
                  <a:gd name="T1" fmla="*/ 36 h 130"/>
                  <a:gd name="T2" fmla="*/ 73 w 129"/>
                  <a:gd name="T3" fmla="*/ 8 h 130"/>
                  <a:gd name="T4" fmla="*/ 67 w 129"/>
                  <a:gd name="T5" fmla="*/ 36 h 130"/>
                  <a:gd name="T6" fmla="*/ 67 w 129"/>
                  <a:gd name="T7" fmla="*/ 10 h 130"/>
                  <a:gd name="T8" fmla="*/ 40 w 129"/>
                  <a:gd name="T9" fmla="*/ 36 h 130"/>
                  <a:gd name="T10" fmla="*/ 63 w 129"/>
                  <a:gd name="T11" fmla="*/ 10 h 130"/>
                  <a:gd name="T12" fmla="*/ 15 w 129"/>
                  <a:gd name="T13" fmla="*/ 36 h 130"/>
                  <a:gd name="T14" fmla="*/ 57 w 129"/>
                  <a:gd name="T15" fmla="*/ 8 h 130"/>
                  <a:gd name="T16" fmla="*/ 102 w 129"/>
                  <a:gd name="T17" fmla="*/ 62 h 130"/>
                  <a:gd name="T18" fmla="*/ 116 w 129"/>
                  <a:gd name="T19" fmla="*/ 41 h 130"/>
                  <a:gd name="T20" fmla="*/ 102 w 129"/>
                  <a:gd name="T21" fmla="*/ 62 h 130"/>
                  <a:gd name="T22" fmla="*/ 97 w 129"/>
                  <a:gd name="T23" fmla="*/ 62 h 130"/>
                  <a:gd name="T24" fmla="*/ 67 w 129"/>
                  <a:gd name="T25" fmla="*/ 41 h 130"/>
                  <a:gd name="T26" fmla="*/ 33 w 129"/>
                  <a:gd name="T27" fmla="*/ 62 h 130"/>
                  <a:gd name="T28" fmla="*/ 63 w 129"/>
                  <a:gd name="T29" fmla="*/ 41 h 130"/>
                  <a:gd name="T30" fmla="*/ 33 w 129"/>
                  <a:gd name="T31" fmla="*/ 62 h 130"/>
                  <a:gd name="T32" fmla="*/ 28 w 129"/>
                  <a:gd name="T33" fmla="*/ 62 h 130"/>
                  <a:gd name="T34" fmla="*/ 12 w 129"/>
                  <a:gd name="T35" fmla="*/ 41 h 130"/>
                  <a:gd name="T36" fmla="*/ 35 w 129"/>
                  <a:gd name="T37" fmla="*/ 92 h 130"/>
                  <a:gd name="T38" fmla="*/ 24 w 129"/>
                  <a:gd name="T39" fmla="*/ 105 h 130"/>
                  <a:gd name="T40" fmla="*/ 35 w 129"/>
                  <a:gd name="T41" fmla="*/ 92 h 130"/>
                  <a:gd name="T42" fmla="*/ 40 w 129"/>
                  <a:gd name="T43" fmla="*/ 92 h 130"/>
                  <a:gd name="T44" fmla="*/ 63 w 129"/>
                  <a:gd name="T45" fmla="*/ 92 h 130"/>
                  <a:gd name="T46" fmla="*/ 67 w 129"/>
                  <a:gd name="T47" fmla="*/ 92 h 130"/>
                  <a:gd name="T48" fmla="*/ 89 w 129"/>
                  <a:gd name="T49" fmla="*/ 92 h 130"/>
                  <a:gd name="T50" fmla="*/ 95 w 129"/>
                  <a:gd name="T51" fmla="*/ 92 h 130"/>
                  <a:gd name="T52" fmla="*/ 114 w 129"/>
                  <a:gd name="T53" fmla="*/ 92 h 130"/>
                  <a:gd name="T54" fmla="*/ 117 w 129"/>
                  <a:gd name="T55" fmla="*/ 88 h 130"/>
                  <a:gd name="T56" fmla="*/ 102 w 129"/>
                  <a:gd name="T57" fmla="*/ 67 h 130"/>
                  <a:gd name="T58" fmla="*/ 67 w 129"/>
                  <a:gd name="T59" fmla="*/ 88 h 130"/>
                  <a:gd name="T60" fmla="*/ 97 w 129"/>
                  <a:gd name="T61" fmla="*/ 67 h 130"/>
                  <a:gd name="T62" fmla="*/ 67 w 129"/>
                  <a:gd name="T63" fmla="*/ 88 h 130"/>
                  <a:gd name="T64" fmla="*/ 63 w 129"/>
                  <a:gd name="T65" fmla="*/ 88 h 130"/>
                  <a:gd name="T66" fmla="*/ 33 w 129"/>
                  <a:gd name="T67" fmla="*/ 67 h 130"/>
                  <a:gd name="T68" fmla="*/ 12 w 129"/>
                  <a:gd name="T69" fmla="*/ 88 h 130"/>
                  <a:gd name="T70" fmla="*/ 28 w 129"/>
                  <a:gd name="T71" fmla="*/ 67 h 130"/>
                  <a:gd name="T72" fmla="*/ 12 w 129"/>
                  <a:gd name="T73" fmla="*/ 88 h 130"/>
                  <a:gd name="T74" fmla="*/ 110 w 129"/>
                  <a:gd name="T75" fmla="*/ 19 h 130"/>
                  <a:gd name="T76" fmla="*/ 64 w 129"/>
                  <a:gd name="T77" fmla="*/ 130 h 130"/>
                  <a:gd name="T78" fmla="*/ 0 w 129"/>
                  <a:gd name="T79" fmla="*/ 65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29" h="130">
                    <a:moveTo>
                      <a:pt x="95" y="36"/>
                    </a:moveTo>
                    <a:cubicBezTo>
                      <a:pt x="114" y="36"/>
                      <a:pt x="114" y="36"/>
                      <a:pt x="114" y="36"/>
                    </a:cubicBezTo>
                    <a:cubicBezTo>
                      <a:pt x="111" y="32"/>
                      <a:pt x="108" y="28"/>
                      <a:pt x="105" y="25"/>
                    </a:cubicBezTo>
                    <a:cubicBezTo>
                      <a:pt x="96" y="16"/>
                      <a:pt x="86" y="10"/>
                      <a:pt x="73" y="8"/>
                    </a:cubicBezTo>
                    <a:cubicBezTo>
                      <a:pt x="83" y="18"/>
                      <a:pt x="90" y="27"/>
                      <a:pt x="95" y="36"/>
                    </a:cubicBezTo>
                    <a:moveTo>
                      <a:pt x="67" y="36"/>
                    </a:moveTo>
                    <a:cubicBezTo>
                      <a:pt x="90" y="36"/>
                      <a:pt x="90" y="36"/>
                      <a:pt x="90" y="36"/>
                    </a:cubicBezTo>
                    <a:cubicBezTo>
                      <a:pt x="85" y="27"/>
                      <a:pt x="77" y="19"/>
                      <a:pt x="67" y="10"/>
                    </a:cubicBezTo>
                    <a:lnTo>
                      <a:pt x="67" y="36"/>
                    </a:lnTo>
                    <a:close/>
                    <a:moveTo>
                      <a:pt x="40" y="36"/>
                    </a:moveTo>
                    <a:cubicBezTo>
                      <a:pt x="63" y="36"/>
                      <a:pt x="63" y="36"/>
                      <a:pt x="63" y="36"/>
                    </a:cubicBezTo>
                    <a:cubicBezTo>
                      <a:pt x="63" y="10"/>
                      <a:pt x="63" y="10"/>
                      <a:pt x="63" y="10"/>
                    </a:cubicBezTo>
                    <a:cubicBezTo>
                      <a:pt x="52" y="19"/>
                      <a:pt x="45" y="27"/>
                      <a:pt x="40" y="36"/>
                    </a:cubicBezTo>
                    <a:close/>
                    <a:moveTo>
                      <a:pt x="15" y="36"/>
                    </a:moveTo>
                    <a:cubicBezTo>
                      <a:pt x="35" y="36"/>
                      <a:pt x="35" y="36"/>
                      <a:pt x="35" y="36"/>
                    </a:cubicBezTo>
                    <a:cubicBezTo>
                      <a:pt x="39" y="27"/>
                      <a:pt x="47" y="17"/>
                      <a:pt x="57" y="8"/>
                    </a:cubicBezTo>
                    <a:cubicBezTo>
                      <a:pt x="39" y="11"/>
                      <a:pt x="23" y="22"/>
                      <a:pt x="15" y="36"/>
                    </a:cubicBezTo>
                    <a:close/>
                    <a:moveTo>
                      <a:pt x="102" y="62"/>
                    </a:moveTo>
                    <a:cubicBezTo>
                      <a:pt x="122" y="62"/>
                      <a:pt x="122" y="62"/>
                      <a:pt x="122" y="62"/>
                    </a:cubicBezTo>
                    <a:cubicBezTo>
                      <a:pt x="121" y="55"/>
                      <a:pt x="119" y="48"/>
                      <a:pt x="116" y="41"/>
                    </a:cubicBezTo>
                    <a:cubicBezTo>
                      <a:pt x="98" y="41"/>
                      <a:pt x="98" y="41"/>
                      <a:pt x="98" y="41"/>
                    </a:cubicBezTo>
                    <a:cubicBezTo>
                      <a:pt x="100" y="48"/>
                      <a:pt x="102" y="55"/>
                      <a:pt x="102" y="62"/>
                    </a:cubicBezTo>
                    <a:close/>
                    <a:moveTo>
                      <a:pt x="67" y="62"/>
                    </a:moveTo>
                    <a:cubicBezTo>
                      <a:pt x="97" y="62"/>
                      <a:pt x="97" y="62"/>
                      <a:pt x="97" y="62"/>
                    </a:cubicBezTo>
                    <a:cubicBezTo>
                      <a:pt x="97" y="55"/>
                      <a:pt x="95" y="48"/>
                      <a:pt x="92" y="41"/>
                    </a:cubicBezTo>
                    <a:cubicBezTo>
                      <a:pt x="67" y="41"/>
                      <a:pt x="67" y="41"/>
                      <a:pt x="67" y="41"/>
                    </a:cubicBezTo>
                    <a:lnTo>
                      <a:pt x="67" y="62"/>
                    </a:lnTo>
                    <a:close/>
                    <a:moveTo>
                      <a:pt x="33" y="62"/>
                    </a:moveTo>
                    <a:cubicBezTo>
                      <a:pt x="63" y="62"/>
                      <a:pt x="63" y="62"/>
                      <a:pt x="63" y="62"/>
                    </a:cubicBezTo>
                    <a:cubicBezTo>
                      <a:pt x="63" y="41"/>
                      <a:pt x="63" y="41"/>
                      <a:pt x="63" y="41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35" y="48"/>
                      <a:pt x="33" y="55"/>
                      <a:pt x="33" y="62"/>
                    </a:cubicBezTo>
                    <a:close/>
                    <a:moveTo>
                      <a:pt x="7" y="62"/>
                    </a:moveTo>
                    <a:cubicBezTo>
                      <a:pt x="28" y="62"/>
                      <a:pt x="28" y="62"/>
                      <a:pt x="28" y="62"/>
                    </a:cubicBezTo>
                    <a:cubicBezTo>
                      <a:pt x="28" y="55"/>
                      <a:pt x="29" y="48"/>
                      <a:pt x="32" y="41"/>
                    </a:cubicBezTo>
                    <a:cubicBezTo>
                      <a:pt x="12" y="41"/>
                      <a:pt x="12" y="41"/>
                      <a:pt x="12" y="41"/>
                    </a:cubicBezTo>
                    <a:cubicBezTo>
                      <a:pt x="9" y="48"/>
                      <a:pt x="8" y="55"/>
                      <a:pt x="7" y="62"/>
                    </a:cubicBezTo>
                    <a:close/>
                    <a:moveTo>
                      <a:pt x="35" y="92"/>
                    </a:moveTo>
                    <a:cubicBezTo>
                      <a:pt x="14" y="92"/>
                      <a:pt x="14" y="92"/>
                      <a:pt x="14" y="92"/>
                    </a:cubicBezTo>
                    <a:cubicBezTo>
                      <a:pt x="17" y="97"/>
                      <a:pt x="20" y="102"/>
                      <a:pt x="24" y="105"/>
                    </a:cubicBezTo>
                    <a:cubicBezTo>
                      <a:pt x="32" y="114"/>
                      <a:pt x="44" y="120"/>
                      <a:pt x="56" y="122"/>
                    </a:cubicBezTo>
                    <a:cubicBezTo>
                      <a:pt x="47" y="112"/>
                      <a:pt x="40" y="102"/>
                      <a:pt x="35" y="92"/>
                    </a:cubicBezTo>
                    <a:close/>
                    <a:moveTo>
                      <a:pt x="63" y="92"/>
                    </a:moveTo>
                    <a:cubicBezTo>
                      <a:pt x="40" y="92"/>
                      <a:pt x="40" y="92"/>
                      <a:pt x="40" y="92"/>
                    </a:cubicBezTo>
                    <a:cubicBezTo>
                      <a:pt x="45" y="102"/>
                      <a:pt x="53" y="111"/>
                      <a:pt x="63" y="121"/>
                    </a:cubicBezTo>
                    <a:lnTo>
                      <a:pt x="63" y="92"/>
                    </a:lnTo>
                    <a:close/>
                    <a:moveTo>
                      <a:pt x="89" y="92"/>
                    </a:moveTo>
                    <a:cubicBezTo>
                      <a:pt x="67" y="92"/>
                      <a:pt x="67" y="92"/>
                      <a:pt x="67" y="92"/>
                    </a:cubicBezTo>
                    <a:cubicBezTo>
                      <a:pt x="67" y="121"/>
                      <a:pt x="67" y="121"/>
                      <a:pt x="67" y="121"/>
                    </a:cubicBezTo>
                    <a:cubicBezTo>
                      <a:pt x="77" y="111"/>
                      <a:pt x="84" y="102"/>
                      <a:pt x="89" y="92"/>
                    </a:cubicBezTo>
                    <a:close/>
                    <a:moveTo>
                      <a:pt x="114" y="92"/>
                    </a:moveTo>
                    <a:cubicBezTo>
                      <a:pt x="95" y="92"/>
                      <a:pt x="95" y="92"/>
                      <a:pt x="95" y="92"/>
                    </a:cubicBezTo>
                    <a:cubicBezTo>
                      <a:pt x="90" y="102"/>
                      <a:pt x="83" y="112"/>
                      <a:pt x="74" y="122"/>
                    </a:cubicBezTo>
                    <a:cubicBezTo>
                      <a:pt x="91" y="118"/>
                      <a:pt x="106" y="108"/>
                      <a:pt x="114" y="92"/>
                    </a:cubicBezTo>
                    <a:close/>
                    <a:moveTo>
                      <a:pt x="97" y="88"/>
                    </a:moveTo>
                    <a:cubicBezTo>
                      <a:pt x="117" y="88"/>
                      <a:pt x="117" y="88"/>
                      <a:pt x="117" y="88"/>
                    </a:cubicBezTo>
                    <a:cubicBezTo>
                      <a:pt x="120" y="81"/>
                      <a:pt x="121" y="74"/>
                      <a:pt x="122" y="67"/>
                    </a:cubicBezTo>
                    <a:cubicBezTo>
                      <a:pt x="102" y="67"/>
                      <a:pt x="102" y="67"/>
                      <a:pt x="102" y="67"/>
                    </a:cubicBezTo>
                    <a:cubicBezTo>
                      <a:pt x="102" y="74"/>
                      <a:pt x="100" y="81"/>
                      <a:pt x="97" y="88"/>
                    </a:cubicBezTo>
                    <a:close/>
                    <a:moveTo>
                      <a:pt x="67" y="88"/>
                    </a:moveTo>
                    <a:cubicBezTo>
                      <a:pt x="92" y="88"/>
                      <a:pt x="92" y="88"/>
                      <a:pt x="92" y="88"/>
                    </a:cubicBezTo>
                    <a:cubicBezTo>
                      <a:pt x="95" y="81"/>
                      <a:pt x="97" y="74"/>
                      <a:pt x="97" y="67"/>
                    </a:cubicBezTo>
                    <a:cubicBezTo>
                      <a:pt x="67" y="67"/>
                      <a:pt x="67" y="67"/>
                      <a:pt x="67" y="67"/>
                    </a:cubicBezTo>
                    <a:lnTo>
                      <a:pt x="67" y="88"/>
                    </a:lnTo>
                    <a:close/>
                    <a:moveTo>
                      <a:pt x="38" y="88"/>
                    </a:moveTo>
                    <a:cubicBezTo>
                      <a:pt x="63" y="88"/>
                      <a:pt x="63" y="88"/>
                      <a:pt x="63" y="88"/>
                    </a:cubicBezTo>
                    <a:cubicBezTo>
                      <a:pt x="63" y="67"/>
                      <a:pt x="63" y="67"/>
                      <a:pt x="63" y="67"/>
                    </a:cubicBezTo>
                    <a:cubicBezTo>
                      <a:pt x="33" y="67"/>
                      <a:pt x="33" y="67"/>
                      <a:pt x="33" y="67"/>
                    </a:cubicBezTo>
                    <a:cubicBezTo>
                      <a:pt x="33" y="74"/>
                      <a:pt x="35" y="81"/>
                      <a:pt x="38" y="88"/>
                    </a:cubicBezTo>
                    <a:close/>
                    <a:moveTo>
                      <a:pt x="12" y="88"/>
                    </a:moveTo>
                    <a:cubicBezTo>
                      <a:pt x="33" y="88"/>
                      <a:pt x="33" y="88"/>
                      <a:pt x="33" y="88"/>
                    </a:cubicBezTo>
                    <a:cubicBezTo>
                      <a:pt x="30" y="81"/>
                      <a:pt x="28" y="74"/>
                      <a:pt x="28" y="67"/>
                    </a:cubicBezTo>
                    <a:cubicBezTo>
                      <a:pt x="7" y="67"/>
                      <a:pt x="7" y="67"/>
                      <a:pt x="7" y="67"/>
                    </a:cubicBezTo>
                    <a:cubicBezTo>
                      <a:pt x="8" y="74"/>
                      <a:pt x="9" y="81"/>
                      <a:pt x="12" y="88"/>
                    </a:cubicBezTo>
                    <a:close/>
                    <a:moveTo>
                      <a:pt x="64" y="0"/>
                    </a:moveTo>
                    <a:cubicBezTo>
                      <a:pt x="82" y="0"/>
                      <a:pt x="98" y="8"/>
                      <a:pt x="110" y="19"/>
                    </a:cubicBezTo>
                    <a:cubicBezTo>
                      <a:pt x="122" y="31"/>
                      <a:pt x="129" y="47"/>
                      <a:pt x="129" y="65"/>
                    </a:cubicBezTo>
                    <a:cubicBezTo>
                      <a:pt x="129" y="100"/>
                      <a:pt x="100" y="130"/>
                      <a:pt x="64" y="130"/>
                    </a:cubicBezTo>
                    <a:cubicBezTo>
                      <a:pt x="47" y="130"/>
                      <a:pt x="31" y="122"/>
                      <a:pt x="19" y="111"/>
                    </a:cubicBezTo>
                    <a:cubicBezTo>
                      <a:pt x="7" y="99"/>
                      <a:pt x="0" y="83"/>
                      <a:pt x="0" y="65"/>
                    </a:cubicBezTo>
                    <a:cubicBezTo>
                      <a:pt x="0" y="29"/>
                      <a:pt x="29" y="0"/>
                      <a:pt x="6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/>
              <a:lstStyle/>
              <a:p>
                <a:pPr algn="ctr"/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5309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F11065-6B63-4F24-BFFB-C7DCFE5810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Unjumble this word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639B4E-7F76-47B3-87EB-A809AC3892F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8000">
                <a:solidFill>
                  <a:schemeClr val="tx1"/>
                </a:solidFill>
              </a:rPr>
              <a:t>ELOV</a:t>
            </a:r>
            <a:endParaRPr lang="en-GB" sz="8000">
              <a:solidFill>
                <a:schemeClr val="tx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FA4F96-6108-4A0C-8CFB-A393640D3C19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8000">
                <a:solidFill>
                  <a:schemeClr val="tx1"/>
                </a:solidFill>
              </a:rPr>
              <a:t>LOVE</a:t>
            </a:r>
            <a:endParaRPr lang="en-GB" sz="8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8320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D997E-3FF7-498E-A72F-40F717AB8C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Watch: Love has no labels</a:t>
            </a:r>
            <a:endParaRPr lang="en-GB">
              <a:solidFill>
                <a:schemeClr val="tx1"/>
              </a:solidFill>
            </a:endParaRPr>
          </a:p>
        </p:txBody>
      </p:sp>
      <p:pic>
        <p:nvPicPr>
          <p:cNvPr id="6" name="Picture 2" descr="Image result for love has no labels">
            <a:hlinkClick r:id="rId3"/>
            <a:extLst>
              <a:ext uri="{FF2B5EF4-FFF2-40B4-BE49-F238E27FC236}">
                <a16:creationId xmlns:a16="http://schemas.microsoft.com/office/drawing/2014/main" id="{7A4A9244-671A-443B-B37C-A638B07A32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02581" y="1794669"/>
            <a:ext cx="7112000" cy="40005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71538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87D34-892F-4461-8A9A-DBBC6F992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>
                <a:solidFill>
                  <a:schemeClr val="tx1"/>
                </a:solidFill>
              </a:rPr>
              <a:t>Discuss: We saw lots of pairs of people. Who do you remember seeing?</a:t>
            </a:r>
          </a:p>
        </p:txBody>
      </p:sp>
      <p:pic>
        <p:nvPicPr>
          <p:cNvPr id="5" name="Picture 2" descr="Image result for love has no labels">
            <a:extLst>
              <a:ext uri="{FF2B5EF4-FFF2-40B4-BE49-F238E27FC236}">
                <a16:creationId xmlns:a16="http://schemas.microsoft.com/office/drawing/2014/main" id="{6D9A200A-68DB-45B0-ADFD-1C06F3FD8E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2442" y="1390650"/>
            <a:ext cx="2391505" cy="2229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Related image">
            <a:extLst>
              <a:ext uri="{FF2B5EF4-FFF2-40B4-BE49-F238E27FC236}">
                <a16:creationId xmlns:a16="http://schemas.microsoft.com/office/drawing/2014/main" id="{019F65FD-22F8-49AA-A0BD-E674CCF782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153097" y="1370016"/>
            <a:ext cx="2246424" cy="2249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1D95CA4-35EE-4928-AC0E-663A5139B2C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88672" y="1390650"/>
            <a:ext cx="2155328" cy="22499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06F3554-EA4C-4A49-8E8F-AAD3332FFF5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26753" y="4176604"/>
            <a:ext cx="2272768" cy="1992799"/>
          </a:xfrm>
          <a:prstGeom prst="rect">
            <a:avLst/>
          </a:prstGeom>
        </p:spPr>
      </p:pic>
      <p:pic>
        <p:nvPicPr>
          <p:cNvPr id="9" name="Picture 6" descr="Image result for love has no labels">
            <a:extLst>
              <a:ext uri="{FF2B5EF4-FFF2-40B4-BE49-F238E27FC236}">
                <a16:creationId xmlns:a16="http://schemas.microsoft.com/office/drawing/2014/main" id="{7703DE39-4B09-4DD2-BD1E-52B7EEFDBBF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72442" y="4198451"/>
            <a:ext cx="2417735" cy="19709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" descr="Image result for love has no labels age limit">
            <a:extLst>
              <a:ext uri="{FF2B5EF4-FFF2-40B4-BE49-F238E27FC236}">
                <a16:creationId xmlns:a16="http://schemas.microsoft.com/office/drawing/2014/main" id="{F23B376B-D5C7-4AB1-A18F-868261E0B7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731"/>
          <a:stretch/>
        </p:blipFill>
        <p:spPr bwMode="auto">
          <a:xfrm>
            <a:off x="6822133" y="4198451"/>
            <a:ext cx="2323391" cy="19927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3871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DDED85-2F7D-4151-BFA8-1712848301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iscuss: what is the main message of the video? </a:t>
            </a:r>
            <a:endParaRPr lang="en-GB">
              <a:solidFill>
                <a:schemeClr val="tx1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CE6FF9-5B5F-43AC-8294-69F724A2797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GB" sz="2400"/>
          </a:p>
          <a:p>
            <a:endParaRPr lang="en-GB"/>
          </a:p>
        </p:txBody>
      </p:sp>
      <p:pic>
        <p:nvPicPr>
          <p:cNvPr id="5" name="Picture 2" descr="http://assets.creativity-online.com/images/work/print/a/d/c/AdCouncil_LoveHasNoLabels15.jpg">
            <a:hlinkClick r:id="rId2"/>
            <a:extLst>
              <a:ext uri="{FF2B5EF4-FFF2-40B4-BE49-F238E27FC236}">
                <a16:creationId xmlns:a16="http://schemas.microsoft.com/office/drawing/2014/main" id="{8CE3F78A-F35F-441F-8760-20EEE77133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63724" y="1390650"/>
            <a:ext cx="7188993" cy="4792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755435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17E87C-1E93-491B-BBC2-521CE2F391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iscuss: what different types of love can you see?</a:t>
            </a:r>
            <a:endParaRPr lang="en-GB">
              <a:solidFill>
                <a:schemeClr val="tx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E4A6828-7BFC-49CF-947D-D9E7BC58092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8898" y="4304529"/>
            <a:ext cx="2593672" cy="18867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EC28795-8E5C-43C9-8297-BACCB47A07A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/>
          <a:stretch/>
        </p:blipFill>
        <p:spPr>
          <a:xfrm>
            <a:off x="6766545" y="4304528"/>
            <a:ext cx="2377392" cy="1817885"/>
          </a:xfrm>
          <a:prstGeom prst="rect">
            <a:avLst/>
          </a:prstGeom>
        </p:spPr>
      </p:pic>
      <p:pic>
        <p:nvPicPr>
          <p:cNvPr id="13" name="Content Placeholder 13">
            <a:extLst>
              <a:ext uri="{FF2B5EF4-FFF2-40B4-BE49-F238E27FC236}">
                <a16:creationId xmlns:a16="http://schemas.microsoft.com/office/drawing/2014/main" id="{77D12684-36B5-4A23-B03E-CA6F2D086C63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08898" y="1394289"/>
            <a:ext cx="2593672" cy="173099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70DD980-6AC7-48E0-8BE1-F64B1A121A1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8"/>
              </a:ext>
            </a:extLst>
          </a:blip>
          <a:stretch>
            <a:fillRect/>
          </a:stretch>
        </p:blipFill>
        <p:spPr>
          <a:xfrm>
            <a:off x="6766544" y="1404353"/>
            <a:ext cx="2377392" cy="175990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03E6C1F-25A4-44DF-80E1-8AA90E9453EA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8608" y="4319445"/>
            <a:ext cx="2621028" cy="181788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6700CCA-74C5-46BE-B7A7-51C676C5F00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2956" y="1394289"/>
            <a:ext cx="2343202" cy="1759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34342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F9D7B-CD03-4BAD-909D-B26299278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iscuss: How many differences can you see?</a:t>
            </a:r>
            <a:endParaRPr lang="en-GB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CB7064D-0E7F-4930-9DD6-51EA84E1678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8904" y="2433969"/>
            <a:ext cx="2786797" cy="200676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82AEF77-0B9B-4FC3-8046-EC99A318842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b="-1"/>
          <a:stretch/>
        </p:blipFill>
        <p:spPr>
          <a:xfrm>
            <a:off x="1855433" y="2425615"/>
            <a:ext cx="2071384" cy="2006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52644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F9D7B-CD03-4BAD-909D-B262992788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iscuss: How many similarities can you see?</a:t>
            </a:r>
            <a:endParaRPr lang="en-GB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62F6D5-18EB-49AE-B03B-C518D6D8E8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8904" y="2433969"/>
            <a:ext cx="2786797" cy="20067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221A65-35D8-4C3D-B2A0-EF3DE679A32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5"/>
              </a:ext>
            </a:extLst>
          </a:blip>
          <a:srcRect b="-1"/>
          <a:stretch/>
        </p:blipFill>
        <p:spPr>
          <a:xfrm>
            <a:off x="1855433" y="2425615"/>
            <a:ext cx="2071384" cy="2006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9323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BD1899-4ACB-4A0D-8F73-BF7773ECF2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Reflect: What does love mean to you?</a:t>
            </a:r>
            <a:endParaRPr lang="en-GB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974D50-CB11-443C-B843-1CCFA58FE58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2467992" y="1630347"/>
            <a:ext cx="5005690" cy="413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88508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I6QyLZQGKGeRNXhubD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m8q.ZtTO.5z.UzjeTm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liver Wyman">
  <a:themeElements>
    <a:clrScheme name="Oliver Wyman">
      <a:dk1>
        <a:sysClr val="windowText" lastClr="000000"/>
      </a:dk1>
      <a:lt1>
        <a:sysClr val="window" lastClr="FFFFFF"/>
      </a:lt1>
      <a:dk2>
        <a:srgbClr val="595959"/>
      </a:dk2>
      <a:lt2>
        <a:srgbClr val="FFFFFF"/>
      </a:lt2>
      <a:accent1>
        <a:srgbClr val="AE379B"/>
      </a:accent1>
      <a:accent2>
        <a:srgbClr val="FAA123"/>
      </a:accent2>
      <a:accent3>
        <a:srgbClr val="BAD530"/>
      </a:accent3>
      <a:accent4>
        <a:srgbClr val="4FC5B7"/>
      </a:accent4>
      <a:accent5>
        <a:srgbClr val="595959"/>
      </a:accent5>
      <a:accent6>
        <a:srgbClr val="818181"/>
      </a:accent6>
      <a:hlink>
        <a:srgbClr val="595959"/>
      </a:hlink>
      <a:folHlink>
        <a:srgbClr val="818181"/>
      </a:folHlink>
    </a:clrScheme>
    <a:fontScheme name="Custom 6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6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custClrLst>
    <a:custClr name="Custom Color 1">
      <a:srgbClr val="832974"/>
    </a:custClr>
    <a:custClr name="Custom Color 2">
      <a:srgbClr val="CE87C3"/>
    </a:custClr>
    <a:custClr name="Custom Color 3">
      <a:srgbClr val="BB791A"/>
    </a:custClr>
    <a:custClr name="Custom Color 4">
      <a:srgbClr val="FCC77B"/>
    </a:custClr>
    <a:custClr name="Custom Color 5">
      <a:srgbClr val="8BA024"/>
    </a:custClr>
    <a:custClr name="Custom Color 6">
      <a:srgbClr val="D6E683"/>
    </a:custClr>
    <a:custClr name="Custom Color 7">
      <a:srgbClr val="3B9489"/>
    </a:custClr>
    <a:custClr name="Custom Color 8">
      <a:srgbClr val="95DCD4"/>
    </a:custClr>
  </a:custClrLst>
  <a:extLst>
    <a:ext uri="{05A4C25C-085E-4340-85A3-A5531E510DB2}">
      <thm15:themeFamily xmlns:thm15="http://schemas.microsoft.com/office/thememl/2012/main" name="DRM template" id="{D232B05D-CE50-416A-8FEB-B764FD19CAB5}" vid="{3BBBED12-FB1D-4146-8882-20649C3CECD4}"/>
    </a:ext>
  </a:extLst>
</a:theme>
</file>

<file path=ppt/theme/theme2.xml><?xml version="1.0" encoding="utf-8"?>
<a:theme xmlns:a="http://schemas.openxmlformats.org/drawingml/2006/main" name="Oliver Wyman">
  <a:themeElements>
    <a:clrScheme name="Oliver Wyman">
      <a:dk1>
        <a:sysClr val="windowText" lastClr="000000"/>
      </a:dk1>
      <a:lt1>
        <a:sysClr val="window" lastClr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Oliver Wyman" id="{5D3F1363-D557-4C85-9815-D383B71379D7}" vid="{8FE2D66B-A8C3-41AB-90F4-4607EF730E2F}"/>
    </a:ext>
  </a:extLst>
</a:theme>
</file>

<file path=ppt/theme/theme3.xml><?xml version="1.0" encoding="utf-8"?>
<a:theme xmlns:a="http://schemas.openxmlformats.org/drawingml/2006/main" name="Oliver Wyman">
  <a:themeElements>
    <a:clrScheme name="Oliver Wyman">
      <a:dk1>
        <a:sysClr val="windowText" lastClr="000000"/>
      </a:dk1>
      <a:lt1>
        <a:sysClr val="window" lastClr="FFFFFF"/>
      </a:lt1>
      <a:dk2>
        <a:srgbClr val="002C77"/>
      </a:dk2>
      <a:lt2>
        <a:srgbClr val="FFFFFF"/>
      </a:lt2>
      <a:accent1>
        <a:srgbClr val="008AB3"/>
      </a:accent1>
      <a:accent2>
        <a:srgbClr val="9DE0ED"/>
      </a:accent2>
      <a:accent3>
        <a:srgbClr val="606060"/>
      </a:accent3>
      <a:accent4>
        <a:srgbClr val="BFBFBF"/>
      </a:accent4>
      <a:accent5>
        <a:srgbClr val="E29815"/>
      </a:accent5>
      <a:accent6>
        <a:srgbClr val="FFCF89"/>
      </a:accent6>
      <a:hlink>
        <a:srgbClr val="5B5B5B"/>
      </a:hlink>
      <a:folHlink>
        <a:srgbClr val="BFBFBF"/>
      </a:folHlink>
    </a:clrScheme>
    <a:fontScheme name="Oliver Wyman">
      <a:maj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Meiryo"/>
        <a:font script="Hang" typeface="맑은 고딕"/>
        <a:font script="Hans" typeface="STKaiti"/>
        <a:font script="Hant" typeface="STKaiti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liver Wyman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3"/>
          </a:solidFill>
        </a:ln>
      </a:spPr>
      <a:bodyPr lIns="73152" tIns="73152" rIns="73152" bIns="73152" rtlCol="0" anchor="ctr"/>
      <a:lstStyle>
        <a:defPPr algn="ctr">
          <a:defRPr sz="10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3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custClrLst>
    <a:custClr name="OW Emerald">
      <a:srgbClr val="41A441"/>
    </a:custClr>
    <a:custClr name="Light Emerald">
      <a:srgbClr val="BDDDA3"/>
    </a:custClr>
    <a:custClr name="OW Iolite">
      <a:srgbClr val="646EAC"/>
    </a:custClr>
    <a:custClr name="Light Iolite">
      <a:srgbClr val="C5CAE7"/>
    </a:custClr>
    <a:custClr name="OW Citrine">
      <a:srgbClr val="DD712C"/>
    </a:custClr>
    <a:custClr name="Light Citrine">
      <a:srgbClr val="FDCFAC"/>
    </a:custClr>
    <a:custClr name="OW Turquoise">
      <a:srgbClr val="079B84"/>
    </a:custClr>
    <a:custClr name="Light Turquoise">
      <a:srgbClr val="A8DAC9"/>
    </a:custClr>
    <a:custClr name="OW Ruby">
      <a:srgbClr val="CB225B"/>
    </a:custClr>
    <a:custClr name="Light Ruby">
      <a:srgbClr val="F8B8BC"/>
    </a:custClr>
    <a:custClr name="Pure Red">
      <a:srgbClr val="FF0000"/>
    </a:custClr>
    <a:custClr name="Bright Onyx">
      <a:srgbClr val="808080"/>
    </a:custClr>
    <a:custClr name="Table Onyx">
      <a:srgbClr val="E8E8E8"/>
    </a:custClr>
    <a:custClr name="Medium Sapphire">
      <a:srgbClr val="016D9F"/>
    </a:custClr>
    <a:custClr name="Bright Sapphire">
      <a:srgbClr val="00A8C8"/>
    </a:custClr>
    <a:custClr name="Pale Sapphire">
      <a:srgbClr val="E1FAFF"/>
    </a:custClr>
    <a:custClr name="Dark Topaz">
      <a:srgbClr val="8E5501"/>
    </a:custClr>
    <a:custClr name="Pale Topaz">
      <a:srgbClr val="FFEED5"/>
    </a:custClr>
    <a:custClr name="Dark Emerald">
      <a:srgbClr val="00582D"/>
    </a:custClr>
    <a:custClr name="Pale Emerald">
      <a:srgbClr val="E2EDC3"/>
    </a:custClr>
  </a:custClrLst>
  <a:extLst>
    <a:ext uri="{05A4C25C-085E-4340-85A3-A5531E510DB2}">
      <thm15:themeFamily xmlns:thm15="http://schemas.microsoft.com/office/thememl/2012/main" name="Oliver Wyman" id="{5D3F1363-D557-4C85-9815-D383B71379D7}" vid="{8FE2D66B-A8C3-41AB-90F4-4607EF730E2F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ontrol xmlns="http://schemas.microsoft.com/VisualStudio/2011/storyboarding/control">
  <Id Name="debc28c3-4667-408d-b8f1-a6a6b1a87da3" Revision="1" Stencil="Icons_1" StencilVersion="1.0"/>
</Control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2A1CB4644FD24D97B9A6F6AC023504" ma:contentTypeVersion="12" ma:contentTypeDescription="Create a new document." ma:contentTypeScope="" ma:versionID="6c6189735ca192a421898dd02ad02b5c">
  <xsd:schema xmlns:xsd="http://www.w3.org/2001/XMLSchema" xmlns:xs="http://www.w3.org/2001/XMLSchema" xmlns:p="http://schemas.microsoft.com/office/2006/metadata/properties" xmlns:ns2="a96c8e58-72e8-422d-9578-66295b7f788a" xmlns:ns3="f9e3fdfd-a4f4-447e-9b05-b24d0c08a18d" targetNamespace="http://schemas.microsoft.com/office/2006/metadata/properties" ma:root="true" ma:fieldsID="d196bd866b34146aef7d8667986bd6cc" ns2:_="" ns3:_="">
    <xsd:import namespace="a96c8e58-72e8-422d-9578-66295b7f788a"/>
    <xsd:import namespace="f9e3fdfd-a4f4-447e-9b05-b24d0c08a18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Review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96c8e58-72e8-422d-9578-66295b7f788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e3fdfd-a4f4-447e-9b05-b24d0c08a18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Review" ma:index="15" nillable="true" ma:displayName="Review" ma:default="0" ma:description="Indicate whether this document needs to be reviewed for Sharepoint tidy" ma:indexed="true" ma:internalName="Review">
      <xsd:simpleType>
        <xsd:restriction base="dms:Boolean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Control xmlns="http://schemas.microsoft.com/VisualStudio/2011/storyboarding/control">
  <Id Name="a3ea08c2-8b36-4526-84f8-c1274c404978" Revision="1" Stencil="Icons_2" StencilVersion="1.0"/>
</Control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eview xmlns="f9e3fdfd-a4f4-447e-9b05-b24d0c08a18d">false</Review>
  </documentManagement>
</p:properties>
</file>

<file path=customXml/itemProps1.xml><?xml version="1.0" encoding="utf-8"?>
<ds:datastoreItem xmlns:ds="http://schemas.openxmlformats.org/officeDocument/2006/customXml" ds:itemID="{218FBA12-0781-468B-A4D0-D61AC02932C9}">
  <ds:schemaRefs>
    <ds:schemaRef ds:uri="http://schemas.microsoft.com/VisualStudio/2011/storyboarding/control"/>
  </ds:schemaRefs>
</ds:datastoreItem>
</file>

<file path=customXml/itemProps2.xml><?xml version="1.0" encoding="utf-8"?>
<ds:datastoreItem xmlns:ds="http://schemas.openxmlformats.org/officeDocument/2006/customXml" ds:itemID="{3FF482DF-C82F-4B45-9DFB-30E27DBB75FF}">
  <ds:schemaRefs>
    <ds:schemaRef ds:uri="a96c8e58-72e8-422d-9578-66295b7f788a"/>
    <ds:schemaRef ds:uri="f9e3fdfd-a4f4-447e-9b05-b24d0c08a18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DCE9446-D3D4-4ABF-8693-73D763C1BB82}">
  <ds:schemaRefs>
    <ds:schemaRef ds:uri="http://schemas.microsoft.com/VisualStudio/2011/storyboarding/control"/>
  </ds:schemaRefs>
</ds:datastoreItem>
</file>

<file path=customXml/itemProps4.xml><?xml version="1.0" encoding="utf-8"?>
<ds:datastoreItem xmlns:ds="http://schemas.openxmlformats.org/officeDocument/2006/customXml" ds:itemID="{5B3B9AA8-6D98-4BB3-A041-56C3811E7F16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0EF00DA2-25B8-468A-8484-4971A6114317}">
  <ds:schemaRefs>
    <ds:schemaRef ds:uri="a96c8e58-72e8-422d-9578-66295b7f788a"/>
    <ds:schemaRef ds:uri="f9e3fdfd-a4f4-447e-9b05-b24d0c08a18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RM template</Template>
  <TotalTime>0</TotalTime>
  <Application>Microsoft Office PowerPoint</Application>
  <PresentationFormat>Custom</PresentationFormat>
  <Slides>10</Slides>
  <Notes>6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Oliver Wyman</vt:lpstr>
      <vt:lpstr>PowerPoint Presentation</vt:lpstr>
      <vt:lpstr>Unjumble this word</vt:lpstr>
      <vt:lpstr>Watch: Love has no labels</vt:lpstr>
      <vt:lpstr>Discuss: We saw lots of pairs of people. Who do you remember seeing?</vt:lpstr>
      <vt:lpstr>Discuss: what is the main message of the video? </vt:lpstr>
      <vt:lpstr>Discuss: what different types of love can you see?</vt:lpstr>
      <vt:lpstr>Discuss: How many differences can you see?</vt:lpstr>
      <vt:lpstr>Discuss: How many similarities can you see?</vt:lpstr>
      <vt:lpstr>Reflect: What does love mean to you?</vt:lpstr>
      <vt:lpstr>PowerPoint Presentation</vt:lpstr>
    </vt:vector>
  </TitlesOfParts>
  <Company>Oliver Wyma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c Bastian</dc:creator>
  <cp:keywords>TemplateVersion: OW16.Blank.20190331.1</cp:keywords>
  <cp:revision>3</cp:revision>
  <cp:lastPrinted>2019-07-19T13:14:22Z</cp:lastPrinted>
  <dcterms:created xsi:type="dcterms:W3CDTF">2020-02-05T13:22:17Z</dcterms:created>
  <dcterms:modified xsi:type="dcterms:W3CDTF">2020-04-07T12:51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17/09/01</vt:lpwstr>
  </property>
  <property fmtid="{D5CDD505-2E9C-101B-9397-08002B2CF9AE}" pid="3" name="LogoName">
    <vt:lpwstr>Oliver Wyman</vt:lpwstr>
  </property>
  <property fmtid="{D5CDD505-2E9C-101B-9397-08002B2CF9AE}" pid="4" name="DocumentMSOLanguageID">
    <vt:lpwstr>msoLanguageIDEnglishUK</vt:lpwstr>
  </property>
  <property fmtid="{D5CDD505-2E9C-101B-9397-08002B2CF9AE}" pid="5" name="Tfs.IsStoryboard">
    <vt:bool>true</vt:bool>
  </property>
  <property fmtid="{D5CDD505-2E9C-101B-9397-08002B2CF9AE}" pid="6" name="ContentTypeId">
    <vt:lpwstr>0x010100482A1CB4644FD24D97B9A6F6AC023504</vt:lpwstr>
  </property>
</Properties>
</file>